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1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2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3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4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16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7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8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19.xml" ContentType="application/vnd.openxmlformats-officedocument.theme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0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21.xml" ContentType="application/vnd.openxmlformats-officedocument.theme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theme/theme22.xml" ContentType="application/vnd.openxmlformats-officedocument.theme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23.xml" ContentType="application/vnd.openxmlformats-officedocument.theme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24.xml" ContentType="application/vnd.openxmlformats-officedocument.theme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25.xml" ContentType="application/vnd.openxmlformats-officedocument.theme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26.xml" ContentType="application/vnd.openxmlformats-officedocument.theme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theme/theme27.xml" ContentType="application/vnd.openxmlformats-officedocument.theme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28.xml" ContentType="application/vnd.openxmlformats-officedocument.theme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theme/theme29.xml" ContentType="application/vnd.openxmlformats-officedocument.theme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theme/theme30.xml" ContentType="application/vnd.openxmlformats-officedocument.theme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31.xml" ContentType="application/vnd.openxmlformats-officedocument.theme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3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33.xml" ContentType="application/vnd.openxmlformats-officedocument.theme+xml"/>
  <Override PartName="/ppt/theme/theme34.xml" ContentType="application/vnd.openxmlformats-officedocument.theme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drawings/drawing1.xml" ContentType="application/vnd.openxmlformats-officedocument.drawingml.chartshape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heme/themeOverride4.xml" ContentType="application/vnd.openxmlformats-officedocument.themeOverride+xml"/>
  <Override PartName="/ppt/charts/chart11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51" r:id="rId2"/>
    <p:sldMasterId id="2147483683" r:id="rId3"/>
    <p:sldMasterId id="2147483685" r:id="rId4"/>
    <p:sldMasterId id="2147483687" r:id="rId5"/>
    <p:sldMasterId id="2147483689" r:id="rId6"/>
    <p:sldMasterId id="2147483691" r:id="rId7"/>
    <p:sldMasterId id="2147483693" r:id="rId8"/>
    <p:sldMasterId id="2147484659" r:id="rId9"/>
    <p:sldMasterId id="2147485338" r:id="rId10"/>
    <p:sldMasterId id="2147485350" r:id="rId11"/>
    <p:sldMasterId id="2147485362" r:id="rId12"/>
    <p:sldMasterId id="2147485375" r:id="rId13"/>
    <p:sldMasterId id="2147485388" r:id="rId14"/>
    <p:sldMasterId id="2147485401" r:id="rId15"/>
    <p:sldMasterId id="2147485414" r:id="rId16"/>
    <p:sldMasterId id="2147485427" r:id="rId17"/>
    <p:sldMasterId id="2147485440" r:id="rId18"/>
    <p:sldMasterId id="2147485453" r:id="rId19"/>
    <p:sldMasterId id="2147485466" r:id="rId20"/>
    <p:sldMasterId id="2147485479" r:id="rId21"/>
    <p:sldMasterId id="2147485492" r:id="rId22"/>
    <p:sldMasterId id="2147485505" r:id="rId23"/>
    <p:sldMasterId id="2147485519" r:id="rId24"/>
    <p:sldMasterId id="2147485531" r:id="rId25"/>
    <p:sldMasterId id="2147485544" r:id="rId26"/>
    <p:sldMasterId id="2147485556" r:id="rId27"/>
    <p:sldMasterId id="2147485570" r:id="rId28"/>
    <p:sldMasterId id="2147485583" r:id="rId29"/>
    <p:sldMasterId id="2147485597" r:id="rId30"/>
    <p:sldMasterId id="2147485610" r:id="rId31"/>
    <p:sldMasterId id="2147485632" r:id="rId32"/>
  </p:sldMasterIdLst>
  <p:notesMasterIdLst>
    <p:notesMasterId r:id="rId50"/>
  </p:notesMasterIdLst>
  <p:handoutMasterIdLst>
    <p:handoutMasterId r:id="rId51"/>
  </p:handoutMasterIdLst>
  <p:sldIdLst>
    <p:sldId id="482" r:id="rId33"/>
    <p:sldId id="461" r:id="rId34"/>
    <p:sldId id="479" r:id="rId35"/>
    <p:sldId id="463" r:id="rId36"/>
    <p:sldId id="465" r:id="rId37"/>
    <p:sldId id="468" r:id="rId38"/>
    <p:sldId id="470" r:id="rId39"/>
    <p:sldId id="472" r:id="rId40"/>
    <p:sldId id="481" r:id="rId41"/>
    <p:sldId id="469" r:id="rId42"/>
    <p:sldId id="474" r:id="rId43"/>
    <p:sldId id="466" r:id="rId44"/>
    <p:sldId id="480" r:id="rId45"/>
    <p:sldId id="456" r:id="rId46"/>
    <p:sldId id="475" r:id="rId47"/>
    <p:sldId id="476" r:id="rId48"/>
    <p:sldId id="477" r:id="rId49"/>
  </p:sldIdLst>
  <p:sldSz cx="9144000" cy="6858000" type="screen4x3"/>
  <p:notesSz cx="6794500" cy="99314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888">
          <p15:clr>
            <a:srgbClr val="A4A3A4"/>
          </p15:clr>
        </p15:guide>
        <p15:guide id="2" pos="29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0F03"/>
    <a:srgbClr val="CC3300"/>
    <a:srgbClr val="E8A828"/>
    <a:srgbClr val="DFC421"/>
    <a:srgbClr val="FFFF99"/>
    <a:srgbClr val="FF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28" autoAdjust="0"/>
    <p:restoredTop sz="94660"/>
  </p:normalViewPr>
  <p:slideViewPr>
    <p:cSldViewPr>
      <p:cViewPr varScale="1">
        <p:scale>
          <a:sx n="55" d="100"/>
          <a:sy n="55" d="100"/>
        </p:scale>
        <p:origin x="-1050" y="-108"/>
      </p:cViewPr>
      <p:guideLst>
        <p:guide orient="horz" pos="1888"/>
        <p:guide pos="295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7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2.xml"/><Relationship Id="rId42" Type="http://schemas.openxmlformats.org/officeDocument/2006/relationships/slide" Target="slides/slide10.xml"/><Relationship Id="rId47" Type="http://schemas.openxmlformats.org/officeDocument/2006/relationships/slide" Target="slides/slide15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1.xml"/><Relationship Id="rId38" Type="http://schemas.openxmlformats.org/officeDocument/2006/relationships/slide" Target="slides/slide6.xml"/><Relationship Id="rId46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slide" Target="slides/slide9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" Target="slides/slide5.xml"/><Relationship Id="rId40" Type="http://schemas.openxmlformats.org/officeDocument/2006/relationships/slide" Target="slides/slide8.xml"/><Relationship Id="rId45" Type="http://schemas.openxmlformats.org/officeDocument/2006/relationships/slide" Target="slides/slide13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4.xml"/><Relationship Id="rId49" Type="http://schemas.openxmlformats.org/officeDocument/2006/relationships/slide" Target="slides/slide17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12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3.xml"/><Relationship Id="rId43" Type="http://schemas.openxmlformats.org/officeDocument/2006/relationships/slide" Target="slides/slide11.xml"/><Relationship Id="rId48" Type="http://schemas.openxmlformats.org/officeDocument/2006/relationships/slide" Target="slides/slide16.xml"/><Relationship Id="rId8" Type="http://schemas.openxmlformats.org/officeDocument/2006/relationships/slideMaster" Target="slideMasters/slideMaster8.xml"/><Relationship Id="rId51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4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OlVikStepanova\AppData\Local\Microsoft\Windows\Temporary%20Internet%20Files\Content.Outlook\BQ7XKZK8\&#1057;&#1074;&#1086;&#1076;%20&#1089;&#1090;&#1072;&#1090;&#1080;&#1089;&#1090;&#1080;&#1082;&#1080;%20&#1087;&#1086;%20&#1079;&#1072;&#1103;&#1074;&#1080;&#1090;&#1077;&#1083;&#1103;&#1084;%202013-2014%20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OlVikStepanova\Documents\&#1055;&#1088;&#1077;&#1079;&#1077;&#1085;&#1090;&#1072;&#1094;&#1080;&#1080;\&#1085;&#1072;&#1088;&#1091;&#1096;&#1077;&#1085;&#1080;&#1103;_&#1074;&#1080;&#1076;&#1099;\&#1076;&#1072;&#1085;&#1085;&#1099;&#1077;_&#1085;&#1072;&#1088;&#1091;&#1096;&#1077;&#1085;&#1080;&#1103;_%20&#1074;&#1080;&#1076;&#1099;_2015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OlVikStepanova\Documents\&#1055;&#1088;&#1077;&#1079;&#1077;&#1085;&#1090;&#1072;&#1094;&#1080;&#1080;\&#1076;&#1072;&#1085;&#1085;&#1099;&#1077;%20&#1087;&#1086;%20&#1057;&#1056;_2015.xlsx" TargetMode="External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6.bin"/><Relationship Id="rId1" Type="http://schemas.openxmlformats.org/officeDocument/2006/relationships/themeOverride" Target="../theme/themeOverride3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3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918731252083099E-2"/>
          <c:y val="0.19796275359382726"/>
          <c:w val="0.56373875124986117"/>
          <c:h val="0.67091891750589805"/>
        </c:manualLayout>
      </c:layout>
      <c:lineChart>
        <c:grouping val="standard"/>
        <c:varyColors val="0"/>
        <c:ser>
          <c:idx val="0"/>
          <c:order val="0"/>
          <c:tx>
            <c:strRef>
              <c:f>'[Диаграмма в Microsoft PowerPoint]Лист1'!$A$35</c:f>
              <c:strCache>
                <c:ptCount val="1"/>
                <c:pt idx="0">
                  <c:v>доля жалоб от числа закупок</c:v>
                </c:pt>
              </c:strCache>
            </c:strRef>
          </c:tx>
          <c:marker>
            <c:symbol val="circle"/>
            <c:size val="7"/>
            <c:spPr>
              <a:solidFill>
                <a:srgbClr val="C00000"/>
              </a:solidFill>
            </c:spPr>
          </c:marker>
          <c:dPt>
            <c:idx val="1"/>
            <c:marker>
              <c:spPr>
                <a:solidFill>
                  <a:srgbClr val="C00000"/>
                </a:solidFill>
                <a:ln>
                  <a:solidFill>
                    <a:srgbClr val="CC3300"/>
                  </a:solidFill>
                </a:ln>
              </c:spPr>
            </c:marker>
            <c:bubble3D val="0"/>
            <c:spPr>
              <a:ln>
                <a:solidFill>
                  <a:srgbClr val="CC3300"/>
                </a:solidFill>
              </a:ln>
            </c:spPr>
          </c:dPt>
          <c:dPt>
            <c:idx val="2"/>
            <c:marker>
              <c:spPr>
                <a:solidFill>
                  <a:srgbClr val="CC3300"/>
                </a:solidFill>
                <a:ln>
                  <a:solidFill>
                    <a:srgbClr val="CC3300"/>
                  </a:solidFill>
                </a:ln>
              </c:spPr>
            </c:marker>
            <c:bubble3D val="0"/>
            <c:spPr>
              <a:ln>
                <a:solidFill>
                  <a:srgbClr val="CC3300"/>
                </a:solidFill>
              </a:ln>
            </c:spPr>
          </c:dPt>
          <c:dLbls>
            <c:dLbl>
              <c:idx val="0"/>
              <c:layout>
                <c:manualLayout>
                  <c:x val="-1.6581873982030804E-2"/>
                  <c:y val="-4.19364826421033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6581873982030804E-2"/>
                  <c:y val="-3.94696307219795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7.5372154463776379E-3"/>
                  <c:y val="-2.71353711213609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Диаграмма в Microsoft PowerPoint]Лист1'!$B$34:$D$34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'[Диаграмма в Microsoft PowerPoint]Лист1'!$B$35:$D$35</c:f>
              <c:numCache>
                <c:formatCode>General</c:formatCode>
                <c:ptCount val="3"/>
                <c:pt idx="0">
                  <c:v>2.0299999999999998</c:v>
                </c:pt>
                <c:pt idx="1">
                  <c:v>1.95</c:v>
                </c:pt>
                <c:pt idx="2">
                  <c:v>1.4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[Диаграмма в Microsoft PowerPoint]Лист1'!$A$36</c:f>
              <c:strCache>
                <c:ptCount val="1"/>
                <c:pt idx="0">
                  <c:v>доля обоснованных жалоб</c:v>
                </c:pt>
              </c:strCache>
            </c:strRef>
          </c:tx>
          <c:spPr>
            <a:ln>
              <a:solidFill>
                <a:schemeClr val="bg2">
                  <a:lumMod val="75000"/>
                </a:schemeClr>
              </a:solidFill>
            </a:ln>
          </c:spPr>
          <c:marker>
            <c:symbol val="circle"/>
            <c:size val="7"/>
            <c:spPr>
              <a:solidFill>
                <a:schemeClr val="bg2">
                  <a:lumMod val="75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1.6581873982030804E-2"/>
                  <c:y val="-5.18038903225981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7.5372154463776379E-3"/>
                  <c:y val="-3.45359268817321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7.5372154463776379E-3"/>
                  <c:y val="-3.94696307219794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Диаграмма в Microsoft PowerPoint]Лист1'!$B$34:$D$34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'[Диаграмма в Microsoft PowerPoint]Лист1'!$B$36:$D$36</c:f>
              <c:numCache>
                <c:formatCode>General</c:formatCode>
                <c:ptCount val="3"/>
                <c:pt idx="0">
                  <c:v>0.61</c:v>
                </c:pt>
                <c:pt idx="1">
                  <c:v>0.49</c:v>
                </c:pt>
                <c:pt idx="2">
                  <c:v>0.3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980800"/>
        <c:axId val="101998976"/>
      </c:lineChart>
      <c:catAx>
        <c:axId val="1019808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101998976"/>
        <c:crosses val="autoZero"/>
        <c:auto val="1"/>
        <c:lblAlgn val="ctr"/>
        <c:lblOffset val="100"/>
        <c:noMultiLvlLbl val="0"/>
      </c:catAx>
      <c:valAx>
        <c:axId val="1019989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1980800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9905843795133873"/>
          <c:y val="0.35098986822814893"/>
          <c:w val="0.39212309743361845"/>
          <c:h val="0.40868334890894475"/>
        </c:manualLayout>
      </c:layout>
      <c:overlay val="0"/>
      <c:txPr>
        <a:bodyPr/>
        <a:lstStyle/>
        <a:p>
          <a:pPr>
            <a:defRPr sz="1600">
              <a:latin typeface="Arial Narrow" panose="020B0606020202030204" pitchFamily="34" charset="0"/>
            </a:defRPr>
          </a:pPr>
          <a:endParaRPr lang="ru-RU"/>
        </a:p>
      </c:txPr>
    </c:legend>
    <c:plotVisOnly val="1"/>
    <c:dispBlanksAs val="zero"/>
    <c:showDLblsOverMax val="0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15"/>
      <c:rotY val="20"/>
      <c:rAngAx val="1"/>
    </c:view3D>
    <c:floor>
      <c:thickness val="0"/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.20532111050978263"/>
          <c:y val="0.14822731684783563"/>
          <c:w val="0.63854889139301985"/>
          <c:h val="0.84277916488811189"/>
        </c:manualLayout>
      </c:layout>
      <c:bar3DChart>
        <c:barDir val="bar"/>
        <c:grouping val="stacked"/>
        <c:varyColors val="0"/>
        <c:ser>
          <c:idx val="0"/>
          <c:order val="0"/>
          <c:spPr>
            <a:solidFill>
              <a:srgbClr val="414142">
                <a:lumMod val="60000"/>
                <a:lumOff val="40000"/>
              </a:srgbClr>
            </a:solidFill>
          </c:spPr>
          <c:invertIfNegative val="0"/>
          <c:cat>
            <c:strRef>
              <c:f>Лист1!$A$5:$A$12</c:f>
              <c:strCache>
                <c:ptCount val="8"/>
                <c:pt idx="0">
                  <c:v>Организация 8</c:v>
                </c:pt>
                <c:pt idx="1">
                  <c:v>Организация 7</c:v>
                </c:pt>
                <c:pt idx="2">
                  <c:v>Организация 6</c:v>
                </c:pt>
                <c:pt idx="3">
                  <c:v>Организация 5</c:v>
                </c:pt>
                <c:pt idx="4">
                  <c:v>Организация 4</c:v>
                </c:pt>
                <c:pt idx="5">
                  <c:v>Организация 3</c:v>
                </c:pt>
                <c:pt idx="6">
                  <c:v>Организация 2</c:v>
                </c:pt>
                <c:pt idx="7">
                  <c:v>Организация 1</c:v>
                </c:pt>
              </c:strCache>
            </c:strRef>
          </c:cat>
          <c:val>
            <c:numRef>
              <c:f>Лист1!$B$5:$B$12</c:f>
              <c:numCache>
                <c:formatCode>General</c:formatCode>
                <c:ptCount val="8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6</c:v>
                </c:pt>
                <c:pt idx="6">
                  <c:v>6</c:v>
                </c:pt>
                <c:pt idx="7">
                  <c:v>11</c:v>
                </c:pt>
              </c:numCache>
            </c:numRef>
          </c:val>
        </c:ser>
        <c:ser>
          <c:idx val="1"/>
          <c:order val="1"/>
          <c:tx>
            <c:v>число обоснованных жалоб/общее кол-во жалоб</c:v>
          </c:tx>
          <c:spPr>
            <a:solidFill>
              <a:srgbClr val="7F0F03"/>
            </a:solidFill>
          </c:spPr>
          <c:invertIfNegative val="0"/>
          <c:dLbls>
            <c:dLbl>
              <c:idx val="0"/>
              <c:layout>
                <c:manualLayout>
                  <c:x val="6.6862213722284874E-2"/>
                  <c:y val="-1.8103617141954988E-2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1 / 4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8.1384608059421965E-2"/>
                  <c:y val="-1.6284740292014338E-3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2 / 4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11366237084768359"/>
                  <c:y val="-3.4828001567077343E-3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4 / 6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1109838986144397"/>
                  <c:y val="-6.7309772598366261E-3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4 / 6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.11098925516212485"/>
                  <c:y val="9.7441658529169271E-3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4 / 6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7.1589069468471753E-2"/>
                  <c:y val="3.0128231366105518E-3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1 / 7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.10415727617566302"/>
                  <c:y val="-4.6997702009718217E-4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3 / 9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0.16200997508213374"/>
                  <c:y val="-4.8762856758605769E-3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6 / 17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6.4681588899853384E-2"/>
                  <c:y val="-4.1796788113350235E-3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4 / 7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3.9855072463768113E-2"/>
                  <c:y val="-6.2695935081897181E-3"/>
                </c:manualLayout>
              </c:layout>
              <c:tx>
                <c:rich>
                  <a:bodyPr/>
                  <a:lstStyle/>
                  <a:p>
                    <a:r>
                      <a:rPr lang="en-US" sz="1100" b="1"/>
                      <a:t>1</a:t>
                    </a:r>
                    <a:r>
                      <a:rPr lang="ru-RU" sz="1100" b="1"/>
                      <a:t> / 9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6.5217391304347824E-2"/>
                  <c:y val="-4.1797290054598124E-3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2</a:t>
                    </a:r>
                    <a:r>
                      <a:rPr lang="ru-RU" sz="1100" b="1" baseline="0"/>
                      <a:t> / 8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3.6231884057971016E-2"/>
                  <c:y val="-6.2695935081897181E-3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0</a:t>
                    </a:r>
                    <a:r>
                      <a:rPr lang="ru-RU" sz="1100" b="1" baseline="0"/>
                      <a:t> / 9</a:t>
                    </a:r>
                    <a:endParaRPr lang="ru-RU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layout>
                <c:manualLayout>
                  <c:x val="7.8342569924409439E-2"/>
                  <c:y val="-6.2696294319142315E-3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5 / 13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>
                <c:manualLayout>
                  <c:x val="6.37017918084615E-2"/>
                  <c:y val="-1.3548200542728768E-3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4</a:t>
                    </a:r>
                    <a:r>
                      <a:rPr lang="ru-RU" sz="1100" b="1" baseline="0"/>
                      <a:t> / 21</a:t>
                    </a:r>
                    <a:endParaRPr lang="ru-RU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layout>
                <c:manualLayout>
                  <c:x val="8.1521739130434784E-2"/>
                  <c:y val="-6.2695935081897181E-3"/>
                </c:manualLayout>
              </c:layout>
              <c:tx>
                <c:rich>
                  <a:bodyPr/>
                  <a:lstStyle/>
                  <a:p>
                    <a:r>
                      <a:rPr lang="ru-RU" sz="1100" b="1"/>
                      <a:t>5 / 12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5"/>
              <c:layout>
                <c:manualLayout>
                  <c:x val="7.6086956521739135E-2"/>
                  <c:y val="-6.2695935081897181E-3"/>
                </c:manualLayout>
              </c:layout>
              <c:tx>
                <c:rich>
                  <a:bodyPr/>
                  <a:lstStyle/>
                  <a:p>
                    <a:r>
                      <a:rPr lang="en-US" sz="1100" b="1"/>
                      <a:t>4 / 2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5:$A$12</c:f>
              <c:strCache>
                <c:ptCount val="8"/>
                <c:pt idx="0">
                  <c:v>Организация 8</c:v>
                </c:pt>
                <c:pt idx="1">
                  <c:v>Организация 7</c:v>
                </c:pt>
                <c:pt idx="2">
                  <c:v>Организация 6</c:v>
                </c:pt>
                <c:pt idx="3">
                  <c:v>Организация 5</c:v>
                </c:pt>
                <c:pt idx="4">
                  <c:v>Организация 4</c:v>
                </c:pt>
                <c:pt idx="5">
                  <c:v>Организация 3</c:v>
                </c:pt>
                <c:pt idx="6">
                  <c:v>Организация 2</c:v>
                </c:pt>
                <c:pt idx="7">
                  <c:v>Организация 1</c:v>
                </c:pt>
              </c:strCache>
            </c:strRef>
          </c:cat>
          <c:val>
            <c:numRef>
              <c:f>Лист1!$C$5:$C$12</c:f>
              <c:numCache>
                <c:formatCode>General</c:formatCode>
                <c:ptCount val="8"/>
                <c:pt idx="0">
                  <c:v>1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1</c:v>
                </c:pt>
                <c:pt idx="6">
                  <c:v>3</c:v>
                </c:pt>
                <c:pt idx="7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02185984"/>
        <c:axId val="102507264"/>
        <c:axId val="0"/>
      </c:bar3DChart>
      <c:catAx>
        <c:axId val="10218598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>
                <a:latin typeface="Arial Narrow" panose="020B0606020202030204" pitchFamily="34" charset="0"/>
              </a:defRPr>
            </a:pPr>
            <a:endParaRPr lang="ru-RU"/>
          </a:p>
        </c:txPr>
        <c:crossAx val="102507264"/>
        <c:crosses val="autoZero"/>
        <c:auto val="1"/>
        <c:lblAlgn val="ctr"/>
        <c:lblOffset val="100"/>
        <c:noMultiLvlLbl val="0"/>
      </c:catAx>
      <c:valAx>
        <c:axId val="1025072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2185984"/>
        <c:crosses val="autoZero"/>
        <c:crossBetween val="between"/>
      </c:valAx>
    </c:plotArea>
    <c:legend>
      <c:legendPos val="t"/>
      <c:legendEntry>
        <c:idx val="0"/>
        <c:delete val="1"/>
      </c:legendEntry>
      <c:overlay val="0"/>
      <c:txPr>
        <a:bodyPr/>
        <a:lstStyle/>
        <a:p>
          <a:pPr>
            <a:defRPr sz="1400">
              <a:latin typeface="Arial Narrow" panose="020B0606020202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свод!$B$14</c:f>
              <c:strCache>
                <c:ptCount val="1"/>
                <c:pt idx="0">
                  <c:v>заявители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свод!$C$13:$H$13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свод!$C$14:$H$14</c:f>
              <c:numCache>
                <c:formatCode>General</c:formatCode>
                <c:ptCount val="6"/>
                <c:pt idx="0">
                  <c:v>215</c:v>
                </c:pt>
                <c:pt idx="1">
                  <c:v>408</c:v>
                </c:pt>
                <c:pt idx="2">
                  <c:v>460</c:v>
                </c:pt>
                <c:pt idx="3">
                  <c:v>682</c:v>
                </c:pt>
                <c:pt idx="4">
                  <c:v>709</c:v>
                </c:pt>
                <c:pt idx="5">
                  <c:v>68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свод!$B$15</c:f>
              <c:strCache>
                <c:ptCount val="1"/>
                <c:pt idx="0">
                  <c:v>ответчики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свод!$C$13:$H$13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свод!$C$15:$H$15</c:f>
              <c:numCache>
                <c:formatCode>General</c:formatCode>
                <c:ptCount val="6"/>
                <c:pt idx="0">
                  <c:v>65</c:v>
                </c:pt>
                <c:pt idx="1">
                  <c:v>85</c:v>
                </c:pt>
                <c:pt idx="2">
                  <c:v>97</c:v>
                </c:pt>
                <c:pt idx="3">
                  <c:v>121</c:v>
                </c:pt>
                <c:pt idx="4">
                  <c:v>140</c:v>
                </c:pt>
                <c:pt idx="5">
                  <c:v>12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2537856"/>
        <c:axId val="102539648"/>
      </c:lineChart>
      <c:catAx>
        <c:axId val="102537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2539648"/>
        <c:crosses val="autoZero"/>
        <c:auto val="1"/>
        <c:lblAlgn val="ctr"/>
        <c:lblOffset val="100"/>
        <c:noMultiLvlLbl val="0"/>
      </c:catAx>
      <c:valAx>
        <c:axId val="10253964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one"/>
        <c:crossAx val="102537856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>
          <a:latin typeface="+mn-lt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жалоб в АК</c:v>
                </c:pt>
              </c:strCache>
            </c:strRef>
          </c:tx>
          <c:spPr>
            <a:solidFill>
              <a:srgbClr val="7F0F03"/>
            </a:solidFill>
            <a:ln>
              <a:solidFill>
                <a:srgbClr val="7F0F03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969</c:v>
                </c:pt>
                <c:pt idx="1">
                  <c:v>1062</c:v>
                </c:pt>
                <c:pt idx="2">
                  <c:v>94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Экономия (млн.руб.)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Lbls>
            <c:dLbl>
              <c:idx val="0"/>
              <c:layout>
                <c:manualLayout>
                  <c:x val="2.035168350087416E-2"/>
                  <c:y val="7.991774136101801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3.0527525251311242E-2"/>
                  <c:y val="7.991774136101801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3423169189794673E-2"/>
                  <c:y val="-1.19876612041527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06</c:v>
                </c:pt>
                <c:pt idx="1">
                  <c:v>103</c:v>
                </c:pt>
                <c:pt idx="2">
                  <c:v>13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2020608"/>
        <c:axId val="102022144"/>
      </c:barChart>
      <c:catAx>
        <c:axId val="102020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102022144"/>
        <c:crosses val="autoZero"/>
        <c:auto val="1"/>
        <c:lblAlgn val="ctr"/>
        <c:lblOffset val="100"/>
        <c:noMultiLvlLbl val="0"/>
      </c:catAx>
      <c:valAx>
        <c:axId val="102022144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>
            <a:noFill/>
          </a:ln>
        </c:spPr>
        <c:crossAx val="102020608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1600">
              <a:latin typeface="Arial Narrow" panose="020B0606020202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2013-2014-2015'!$C$2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2013-2014-2015'!$B$3:$B$9</c:f>
              <c:strCache>
                <c:ptCount val="7"/>
                <c:pt idx="0">
                  <c:v>Иные нарушения</c:v>
                </c:pt>
                <c:pt idx="1">
                  <c:v>Нарушения, связанные с заключением договора</c:v>
                </c:pt>
                <c:pt idx="2">
                  <c:v>Нарушения порядка и сроков оформления протоколов и их размещения на официальном сайте</c:v>
                </c:pt>
                <c:pt idx="3">
                  <c:v>Неправомерная закупка товаров с указанием торговых марок и наименований марок и наименований предприятий-изготовителей</c:v>
                </c:pt>
                <c:pt idx="4">
                  <c:v>Необоснованный отказ в допуске/допуск к участию заявки</c:v>
                </c:pt>
                <c:pt idx="5">
                  <c:v>Нарушения порядка и сроков проведения процедур закупки</c:v>
                </c:pt>
                <c:pt idx="6">
                  <c:v>Неправомерные требования или отсутствие обязательных сведений в документации процедуры закупки</c:v>
                </c:pt>
              </c:strCache>
            </c:strRef>
          </c:cat>
          <c:val>
            <c:numRef>
              <c:f>'2013-2014-2015'!$C$3:$C$9</c:f>
              <c:numCache>
                <c:formatCode>0%</c:formatCode>
                <c:ptCount val="7"/>
                <c:pt idx="0">
                  <c:v>1.6541353383458645E-2</c:v>
                </c:pt>
                <c:pt idx="1">
                  <c:v>7.5187969924812026E-3</c:v>
                </c:pt>
                <c:pt idx="2">
                  <c:v>4.9624060150375938E-2</c:v>
                </c:pt>
                <c:pt idx="3">
                  <c:v>5.4135338345864661E-2</c:v>
                </c:pt>
                <c:pt idx="4">
                  <c:v>0.20601503759398496</c:v>
                </c:pt>
                <c:pt idx="5">
                  <c:v>0.24812030075187969</c:v>
                </c:pt>
                <c:pt idx="6">
                  <c:v>0.41804511278195489</c:v>
                </c:pt>
              </c:numCache>
            </c:numRef>
          </c:val>
        </c:ser>
        <c:ser>
          <c:idx val="1"/>
          <c:order val="1"/>
          <c:tx>
            <c:strRef>
              <c:f>'2013-2014-2015'!$D$2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7F0F03"/>
            </a:solidFill>
            <a:ln>
              <a:solidFill>
                <a:srgbClr val="7F0F03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2013-2014-2015'!$B$3:$B$9</c:f>
              <c:strCache>
                <c:ptCount val="7"/>
                <c:pt idx="0">
                  <c:v>Иные нарушения</c:v>
                </c:pt>
                <c:pt idx="1">
                  <c:v>Нарушения, связанные с заключением договора</c:v>
                </c:pt>
                <c:pt idx="2">
                  <c:v>Нарушения порядка и сроков оформления протоколов и их размещения на официальном сайте</c:v>
                </c:pt>
                <c:pt idx="3">
                  <c:v>Неправомерная закупка товаров с указанием торговых марок и наименований марок и наименований предприятий-изготовителей</c:v>
                </c:pt>
                <c:pt idx="4">
                  <c:v>Необоснованный отказ в допуске/допуск к участию заявки</c:v>
                </c:pt>
                <c:pt idx="5">
                  <c:v>Нарушения порядка и сроков проведения процедур закупки</c:v>
                </c:pt>
                <c:pt idx="6">
                  <c:v>Неправомерные требования или отсутствие обязательных сведений в документации процедуры закупки</c:v>
                </c:pt>
              </c:strCache>
            </c:strRef>
          </c:cat>
          <c:val>
            <c:numRef>
              <c:f>'2013-2014-2015'!$D$3:$D$9</c:f>
              <c:numCache>
                <c:formatCode>0%</c:formatCode>
                <c:ptCount val="7"/>
                <c:pt idx="0">
                  <c:v>1.0999999999999999E-2</c:v>
                </c:pt>
                <c:pt idx="1">
                  <c:v>6.0000000000000001E-3</c:v>
                </c:pt>
                <c:pt idx="2">
                  <c:v>0.13200000000000001</c:v>
                </c:pt>
                <c:pt idx="3">
                  <c:v>5.0999999999999997E-2</c:v>
                </c:pt>
                <c:pt idx="4">
                  <c:v>0.26800000000000002</c:v>
                </c:pt>
                <c:pt idx="5">
                  <c:v>0.13400000000000001</c:v>
                </c:pt>
                <c:pt idx="6">
                  <c:v>0.39800000000000002</c:v>
                </c:pt>
              </c:numCache>
            </c:numRef>
          </c:val>
        </c:ser>
        <c:ser>
          <c:idx val="2"/>
          <c:order val="2"/>
          <c:tx>
            <c:strRef>
              <c:f>'2013-2014-2015'!$E$2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2013-2014-2015'!$B$3:$B$9</c:f>
              <c:strCache>
                <c:ptCount val="7"/>
                <c:pt idx="0">
                  <c:v>Иные нарушения</c:v>
                </c:pt>
                <c:pt idx="1">
                  <c:v>Нарушения, связанные с заключением договора</c:v>
                </c:pt>
                <c:pt idx="2">
                  <c:v>Нарушения порядка и сроков оформления протоколов и их размещения на официальном сайте</c:v>
                </c:pt>
                <c:pt idx="3">
                  <c:v>Неправомерная закупка товаров с указанием торговых марок и наименований марок и наименований предприятий-изготовителей</c:v>
                </c:pt>
                <c:pt idx="4">
                  <c:v>Необоснованный отказ в допуске/допуск к участию заявки</c:v>
                </c:pt>
                <c:pt idx="5">
                  <c:v>Нарушения порядка и сроков проведения процедур закупки</c:v>
                </c:pt>
                <c:pt idx="6">
                  <c:v>Неправомерные требования или отсутствие обязательных сведений в документации процедуры закупки</c:v>
                </c:pt>
              </c:strCache>
            </c:strRef>
          </c:cat>
          <c:val>
            <c:numRef>
              <c:f>'2013-2014-2015'!$E$3:$E$9</c:f>
              <c:numCache>
                <c:formatCode>0%</c:formatCode>
                <c:ptCount val="7"/>
                <c:pt idx="0">
                  <c:v>1.0999999999999999E-2</c:v>
                </c:pt>
                <c:pt idx="1">
                  <c:v>2.8000000000000001E-2</c:v>
                </c:pt>
                <c:pt idx="2">
                  <c:v>9.9000000000000005E-2</c:v>
                </c:pt>
                <c:pt idx="3">
                  <c:v>2.1999999999999999E-2</c:v>
                </c:pt>
                <c:pt idx="4">
                  <c:v>0.25600000000000001</c:v>
                </c:pt>
                <c:pt idx="5">
                  <c:v>0.108</c:v>
                </c:pt>
                <c:pt idx="6">
                  <c:v>0.47599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0906880"/>
        <c:axId val="100908416"/>
      </c:barChart>
      <c:catAx>
        <c:axId val="100906880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00908416"/>
        <c:crossesAt val="0"/>
        <c:auto val="1"/>
        <c:lblAlgn val="ctr"/>
        <c:lblOffset val="100"/>
        <c:noMultiLvlLbl val="0"/>
      </c:catAx>
      <c:valAx>
        <c:axId val="100908416"/>
        <c:scaling>
          <c:orientation val="minMax"/>
          <c:max val="0.5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100906880"/>
        <c:crosses val="autoZero"/>
        <c:crossBetween val="between"/>
        <c:majorUnit val="0.1"/>
      </c:valAx>
    </c:plotArea>
    <c:legend>
      <c:legendPos val="r"/>
      <c:layout>
        <c:manualLayout>
          <c:xMode val="edge"/>
          <c:yMode val="edge"/>
          <c:x val="0.88589304177412642"/>
          <c:y val="0.59257746116443266"/>
          <c:w val="7.4422531903602179E-2"/>
          <c:h val="0.22791291326172305"/>
        </c:manualLayout>
      </c:layout>
      <c:overlay val="0"/>
      <c:txPr>
        <a:bodyPr/>
        <a:lstStyle/>
        <a:p>
          <a:pPr>
            <a:defRPr sz="1300" b="1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7</c:f>
              <c:strCache>
                <c:ptCount val="1"/>
                <c:pt idx="0">
                  <c:v>Включено в РНП</c:v>
                </c:pt>
              </c:strCache>
            </c:strRef>
          </c:tx>
          <c:spPr>
            <a:solidFill>
              <a:srgbClr val="7F0F03"/>
            </a:solidFill>
            <a:ln>
              <a:solidFill>
                <a:srgbClr val="7F0F03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C$6:$E$6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Лист1!$C$7:$E$7</c:f>
              <c:numCache>
                <c:formatCode>General</c:formatCode>
                <c:ptCount val="3"/>
                <c:pt idx="0">
                  <c:v>2</c:v>
                </c:pt>
                <c:pt idx="1">
                  <c:v>7</c:v>
                </c:pt>
                <c:pt idx="2">
                  <c:v>20</c:v>
                </c:pt>
              </c:numCache>
            </c:numRef>
          </c:val>
        </c:ser>
        <c:ser>
          <c:idx val="1"/>
          <c:order val="1"/>
          <c:tx>
            <c:strRef>
              <c:f>Лист1!$B$8</c:f>
              <c:strCache>
                <c:ptCount val="1"/>
                <c:pt idx="0">
                  <c:v>Не включено</c:v>
                </c:pt>
              </c:strCache>
            </c:strRef>
          </c:tx>
          <c:spPr>
            <a:solidFill>
              <a:srgbClr val="414142">
                <a:lumMod val="60000"/>
                <a:lumOff val="40000"/>
              </a:srgbClr>
            </a:solidFill>
            <a:ln>
              <a:solidFill>
                <a:srgbClr val="414142">
                  <a:lumMod val="60000"/>
                  <a:lumOff val="40000"/>
                </a:srgbClr>
              </a:solidFill>
            </a:ln>
          </c:spPr>
          <c:invertIfNegative val="0"/>
          <c:cat>
            <c:numRef>
              <c:f>Лист1!$C$6:$E$6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Лист1!$C$8:$E$8</c:f>
              <c:numCache>
                <c:formatCode>General</c:formatCode>
                <c:ptCount val="3"/>
                <c:pt idx="0">
                  <c:v>12</c:v>
                </c:pt>
                <c:pt idx="1">
                  <c:v>10</c:v>
                </c:pt>
                <c:pt idx="2">
                  <c:v>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3669760"/>
        <c:axId val="103671296"/>
      </c:barChart>
      <c:catAx>
        <c:axId val="103669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300" b="1"/>
            </a:pPr>
            <a:endParaRPr lang="ru-RU"/>
          </a:p>
        </c:txPr>
        <c:crossAx val="103671296"/>
        <c:crosses val="autoZero"/>
        <c:auto val="1"/>
        <c:lblAlgn val="ctr"/>
        <c:lblOffset val="100"/>
        <c:noMultiLvlLbl val="0"/>
      </c:catAx>
      <c:valAx>
        <c:axId val="1036712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3669760"/>
        <c:crosses val="autoZero"/>
        <c:crossBetween val="between"/>
      </c:valAx>
    </c:plotArea>
    <c:legend>
      <c:legendPos val="b"/>
      <c:legendEntry>
        <c:idx val="1"/>
        <c:delete val="1"/>
      </c:legendEntry>
      <c:layout/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latin typeface="Arial Narrow" panose="020B060602020203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9</c:v>
                </c:pt>
                <c:pt idx="1">
                  <c:v>22</c:v>
                </c:pt>
                <c:pt idx="2">
                  <c:v>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4740736"/>
        <c:axId val="104742272"/>
      </c:barChart>
      <c:catAx>
        <c:axId val="1047407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 Narrow" panose="020B0606020202030204" pitchFamily="34" charset="0"/>
              </a:defRPr>
            </a:pPr>
            <a:endParaRPr lang="ru-RU"/>
          </a:p>
        </c:txPr>
        <c:crossAx val="104742272"/>
        <c:crosses val="autoZero"/>
        <c:auto val="1"/>
        <c:lblAlgn val="ctr"/>
        <c:lblOffset val="100"/>
        <c:noMultiLvlLbl val="0"/>
      </c:catAx>
      <c:valAx>
        <c:axId val="10474227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47407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C$35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36:$B$39</c:f>
              <c:strCache>
                <c:ptCount val="4"/>
                <c:pt idx="0">
                  <c:v>замечание</c:v>
                </c:pt>
                <c:pt idx="1">
                  <c:v>выговор</c:v>
                </c:pt>
                <c:pt idx="2">
                  <c:v>увольнение</c:v>
                </c:pt>
                <c:pt idx="3">
                  <c:v>снижение ИСН, бонуса</c:v>
                </c:pt>
              </c:strCache>
            </c:strRef>
          </c:cat>
          <c:val>
            <c:numRef>
              <c:f>Лист1!$C$36:$C$39</c:f>
              <c:numCache>
                <c:formatCode>General</c:formatCode>
                <c:ptCount val="4"/>
                <c:pt idx="0">
                  <c:v>57</c:v>
                </c:pt>
                <c:pt idx="1">
                  <c:v>10</c:v>
                </c:pt>
                <c:pt idx="2">
                  <c:v>1</c:v>
                </c:pt>
                <c:pt idx="3">
                  <c:v>103</c:v>
                </c:pt>
              </c:numCache>
            </c:numRef>
          </c:val>
        </c:ser>
        <c:ser>
          <c:idx val="1"/>
          <c:order val="1"/>
          <c:tx>
            <c:strRef>
              <c:f>Лист1!$D$35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7F0F0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36:$B$39</c:f>
              <c:strCache>
                <c:ptCount val="4"/>
                <c:pt idx="0">
                  <c:v>замечание</c:v>
                </c:pt>
                <c:pt idx="1">
                  <c:v>выговор</c:v>
                </c:pt>
                <c:pt idx="2">
                  <c:v>увольнение</c:v>
                </c:pt>
                <c:pt idx="3">
                  <c:v>снижение ИСН, бонуса</c:v>
                </c:pt>
              </c:strCache>
            </c:strRef>
          </c:cat>
          <c:val>
            <c:numRef>
              <c:f>Лист1!$D$36:$D$39</c:f>
              <c:numCache>
                <c:formatCode>General</c:formatCode>
                <c:ptCount val="4"/>
                <c:pt idx="0">
                  <c:v>50</c:v>
                </c:pt>
                <c:pt idx="1">
                  <c:v>21</c:v>
                </c:pt>
                <c:pt idx="2">
                  <c:v>8</c:v>
                </c:pt>
                <c:pt idx="3">
                  <c:v>87</c:v>
                </c:pt>
              </c:numCache>
            </c:numRef>
          </c:val>
        </c:ser>
        <c:ser>
          <c:idx val="2"/>
          <c:order val="2"/>
          <c:tx>
            <c:strRef>
              <c:f>Лист1!$E$35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36:$B$39</c:f>
              <c:strCache>
                <c:ptCount val="4"/>
                <c:pt idx="0">
                  <c:v>замечание</c:v>
                </c:pt>
                <c:pt idx="1">
                  <c:v>выговор</c:v>
                </c:pt>
                <c:pt idx="2">
                  <c:v>увольнение</c:v>
                </c:pt>
                <c:pt idx="3">
                  <c:v>снижение ИСН, бонуса</c:v>
                </c:pt>
              </c:strCache>
            </c:strRef>
          </c:cat>
          <c:val>
            <c:numRef>
              <c:f>Лист1!$E$36:$E$39</c:f>
              <c:numCache>
                <c:formatCode>General</c:formatCode>
                <c:ptCount val="4"/>
                <c:pt idx="0">
                  <c:v>48</c:v>
                </c:pt>
                <c:pt idx="1">
                  <c:v>21</c:v>
                </c:pt>
                <c:pt idx="2">
                  <c:v>1</c:v>
                </c:pt>
                <c:pt idx="3">
                  <c:v>83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02097280"/>
        <c:axId val="102098816"/>
      </c:barChart>
      <c:catAx>
        <c:axId val="102097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02098816"/>
        <c:crosses val="autoZero"/>
        <c:auto val="1"/>
        <c:lblAlgn val="ctr"/>
        <c:lblOffset val="100"/>
        <c:noMultiLvlLbl val="0"/>
      </c:catAx>
      <c:valAx>
        <c:axId val="10209881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209728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1846700991926835"/>
          <c:y val="0.89100855718873617"/>
          <c:w val="0.43956816222098261"/>
          <c:h val="8.4381774118121242E-2"/>
        </c:manualLayout>
      </c:layout>
      <c:overlay val="0"/>
      <c:txPr>
        <a:bodyPr/>
        <a:lstStyle/>
        <a:p>
          <a:pPr>
            <a:defRPr sz="1300" b="1"/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Диаграмма в Microsoft PowerPoint]Лист1'!$C$27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414142">
                <a:lumMod val="40000"/>
                <a:lumOff val="60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Диаграмма в Microsoft PowerPoint]Лист1'!$B$28:$B$30</c:f>
              <c:strCache>
                <c:ptCount val="3"/>
                <c:pt idx="0">
                  <c:v>член закупочной комиссии</c:v>
                </c:pt>
                <c:pt idx="1">
                  <c:v>сотрудник подразделения по организации закупок</c:v>
                </c:pt>
                <c:pt idx="2">
                  <c:v>сотрудник подразделения заказчика</c:v>
                </c:pt>
              </c:strCache>
            </c:strRef>
          </c:cat>
          <c:val>
            <c:numRef>
              <c:f>'[Диаграмма в Microsoft PowerPoint]Лист1'!$C$28:$C$30</c:f>
              <c:numCache>
                <c:formatCode>General</c:formatCode>
                <c:ptCount val="3"/>
                <c:pt idx="0">
                  <c:v>48</c:v>
                </c:pt>
                <c:pt idx="1">
                  <c:v>38</c:v>
                </c:pt>
                <c:pt idx="2">
                  <c:v>19</c:v>
                </c:pt>
              </c:numCache>
            </c:numRef>
          </c:val>
        </c:ser>
        <c:ser>
          <c:idx val="1"/>
          <c:order val="1"/>
          <c:tx>
            <c:strRef>
              <c:f>'[Диаграмма в Microsoft PowerPoint]Лист1'!$D$27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7F0F0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Диаграмма в Microsoft PowerPoint]Лист1'!$B$28:$B$30</c:f>
              <c:strCache>
                <c:ptCount val="3"/>
                <c:pt idx="0">
                  <c:v>член закупочной комиссии</c:v>
                </c:pt>
                <c:pt idx="1">
                  <c:v>сотрудник подразделения по организации закупок</c:v>
                </c:pt>
                <c:pt idx="2">
                  <c:v>сотрудник подразделения заказчика</c:v>
                </c:pt>
              </c:strCache>
            </c:strRef>
          </c:cat>
          <c:val>
            <c:numRef>
              <c:f>'[Диаграмма в Microsoft PowerPoint]Лист1'!$D$28:$D$30</c:f>
              <c:numCache>
                <c:formatCode>General</c:formatCode>
                <c:ptCount val="3"/>
                <c:pt idx="0">
                  <c:v>41</c:v>
                </c:pt>
                <c:pt idx="1">
                  <c:v>26</c:v>
                </c:pt>
                <c:pt idx="2">
                  <c:v>26</c:v>
                </c:pt>
              </c:numCache>
            </c:numRef>
          </c:val>
        </c:ser>
        <c:ser>
          <c:idx val="2"/>
          <c:order val="2"/>
          <c:tx>
            <c:strRef>
              <c:f>'[Диаграмма в Microsoft PowerPoint]Лист1'!$E$27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3E87BD">
                <a:lumMod val="50000"/>
              </a:srgbClr>
            </a:solidFill>
            <a:ln>
              <a:solidFill>
                <a:srgbClr val="3E87BD">
                  <a:lumMod val="50000"/>
                </a:srgb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Диаграмма в Microsoft PowerPoint]Лист1'!$B$28:$B$30</c:f>
              <c:strCache>
                <c:ptCount val="3"/>
                <c:pt idx="0">
                  <c:v>член закупочной комиссии</c:v>
                </c:pt>
                <c:pt idx="1">
                  <c:v>сотрудник подразделения по организации закупок</c:v>
                </c:pt>
                <c:pt idx="2">
                  <c:v>сотрудник подразделения заказчика</c:v>
                </c:pt>
              </c:strCache>
            </c:strRef>
          </c:cat>
          <c:val>
            <c:numRef>
              <c:f>'[Диаграмма в Microsoft PowerPoint]Лист1'!$E$28:$E$30</c:f>
              <c:numCache>
                <c:formatCode>General</c:formatCode>
                <c:ptCount val="3"/>
                <c:pt idx="0">
                  <c:v>22</c:v>
                </c:pt>
                <c:pt idx="1">
                  <c:v>30</c:v>
                </c:pt>
                <c:pt idx="2">
                  <c:v>49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02138240"/>
        <c:axId val="102139776"/>
      </c:barChart>
      <c:catAx>
        <c:axId val="10213824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50">
                <a:latin typeface="Arial Narrow" panose="020B0606020202030204" pitchFamily="34" charset="0"/>
              </a:defRPr>
            </a:pPr>
            <a:endParaRPr lang="ru-RU"/>
          </a:p>
        </c:txPr>
        <c:crossAx val="102139776"/>
        <c:crosses val="autoZero"/>
        <c:auto val="1"/>
        <c:lblAlgn val="ctr"/>
        <c:lblOffset val="100"/>
        <c:noMultiLvlLbl val="0"/>
      </c:catAx>
      <c:valAx>
        <c:axId val="1021397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2138240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1400" b="1">
              <a:latin typeface="Arial Narrow" panose="020B0606020202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 стране</c:v>
                </c:pt>
              </c:strCache>
            </c:strRef>
          </c:tx>
          <c:spPr>
            <a:solidFill>
              <a:schemeClr val="tx1">
                <a:lumMod val="60000"/>
                <a:lumOff val="4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Экономия (%)</c:v>
                </c:pt>
                <c:pt idx="1">
                  <c:v>Среднее число участников</c:v>
                </c:pt>
              </c:strCache>
            </c:strRef>
          </c:cat>
          <c:val>
            <c:numRef>
              <c:f>Лист1!$B$2:$B$3</c:f>
              <c:numCache>
                <c:formatCode>_-* #,##0.0_р_._-;\-* #,##0.0_р_._-;_-* "-"??_р_._-;_-@_-</c:formatCode>
                <c:ptCount val="2"/>
                <c:pt idx="0" formatCode="_-* #,##0_р_._-;\-* #,##0_р_._-;_-* &quot;-&quot;??_р_._-;_-@_-">
                  <c:v>1</c:v>
                </c:pt>
                <c:pt idx="1">
                  <c:v>1.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ГК "Росатом"</c:v>
                </c:pt>
              </c:strCache>
            </c:strRef>
          </c:tx>
          <c:spPr>
            <a:solidFill>
              <a:srgbClr val="7F0F03"/>
            </a:solidFill>
            <a:ln>
              <a:solidFill>
                <a:srgbClr val="7F0F03"/>
              </a:solidFill>
            </a:ln>
          </c:spPr>
          <c:invertIfNegative val="0"/>
          <c:dLbls>
            <c:dLbl>
              <c:idx val="0"/>
              <c:layout>
                <c:manualLayout>
                  <c:x val="2.7347198680936054E-2"/>
                  <c:y val="4.505834168272704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Экономия (%)</c:v>
                </c:pt>
                <c:pt idx="1">
                  <c:v>Среднее число участников</c:v>
                </c:pt>
              </c:strCache>
            </c:strRef>
          </c:cat>
          <c:val>
            <c:numRef>
              <c:f>Лист1!$C$2:$C$3</c:f>
              <c:numCache>
                <c:formatCode>_-* #,##0_р_._-;\-* #,##0_р_._-;_-* "-"??_р_._-;_-@_-</c:formatCode>
                <c:ptCount val="2"/>
                <c:pt idx="0" formatCode="_-* #,##0.0_р_._-;\-* #,##0.0_р_._-;_-* &quot;-&quot;??_р_._-;_-@_-">
                  <c:v>4.8</c:v>
                </c:pt>
                <c:pt idx="1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4960768"/>
        <c:axId val="142962048"/>
      </c:barChart>
      <c:catAx>
        <c:axId val="1049607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>
                <a:latin typeface="Arial Narrow" panose="020B0606020202030204" pitchFamily="34" charset="0"/>
              </a:defRPr>
            </a:pPr>
            <a:endParaRPr lang="ru-RU"/>
          </a:p>
        </c:txPr>
        <c:crossAx val="142962048"/>
        <c:crosses val="autoZero"/>
        <c:auto val="1"/>
        <c:lblAlgn val="ctr"/>
        <c:lblOffset val="100"/>
        <c:noMultiLvlLbl val="0"/>
      </c:catAx>
      <c:valAx>
        <c:axId val="142962048"/>
        <c:scaling>
          <c:orientation val="minMax"/>
        </c:scaling>
        <c:delete val="1"/>
        <c:axPos val="l"/>
        <c:numFmt formatCode="_-* #,##0_р_._-;\-* #,##0_р_._-;_-* &quot;-&quot;??_р_._-;_-@_-" sourceLinked="1"/>
        <c:majorTickMark val="out"/>
        <c:minorTickMark val="none"/>
        <c:tickLblPos val="nextTo"/>
        <c:crossAx val="10496076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4.2009486652434799E-2"/>
          <c:y val="0.78806604271732572"/>
          <c:w val="0.89999974833127905"/>
          <c:h val="0.18384573150199576"/>
        </c:manualLayout>
      </c:layout>
      <c:overlay val="0"/>
      <c:txPr>
        <a:bodyPr/>
        <a:lstStyle/>
        <a:p>
          <a:pPr>
            <a:defRPr sz="1600">
              <a:latin typeface="Arial Narrow" panose="020B0606020202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ЦА ФАС  России</c:v>
                </c:pt>
              </c:strCache>
            </c:strRef>
          </c:tx>
          <c:spPr>
            <a:solidFill>
              <a:schemeClr val="tx1">
                <a:lumMod val="60000"/>
                <a:lumOff val="40000"/>
              </a:schemeClr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Рассмотрено жалоб</c:v>
                </c:pt>
                <c:pt idx="1">
                  <c:v>Обоснованные</c:v>
                </c:pt>
              </c:strCache>
            </c:strRef>
          </c:cat>
          <c:val>
            <c:numRef>
              <c:f>Лист1!$B$2:$B$3</c:f>
              <c:numCache>
                <c:formatCode>_-* #,##0_р_._-;\-* #,##0_р_._-;_-* "-"??_р_._-;_-@_-</c:formatCode>
                <c:ptCount val="2"/>
                <c:pt idx="0">
                  <c:v>397</c:v>
                </c:pt>
                <c:pt idx="1">
                  <c:v>24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ГК "Росатом"</c:v>
                </c:pt>
              </c:strCache>
            </c:strRef>
          </c:tx>
          <c:spPr>
            <a:solidFill>
              <a:srgbClr val="7F0F03"/>
            </a:solidFill>
            <a:ln>
              <a:solidFill>
                <a:srgbClr val="7F0F03"/>
              </a:solidFill>
            </a:ln>
          </c:spPr>
          <c:invertIfNegative val="0"/>
          <c:dLbls>
            <c:dLbl>
              <c:idx val="0"/>
              <c:layout>
                <c:manualLayout>
                  <c:x val="2.7347198680936054E-2"/>
                  <c:y val="4.505834168272704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Рассмотрено жалоб</c:v>
                </c:pt>
                <c:pt idx="1">
                  <c:v>Обоснованные</c:v>
                </c:pt>
              </c:strCache>
            </c:strRef>
          </c:cat>
          <c:val>
            <c:numRef>
              <c:f>Лист1!$C$2:$C$3</c:f>
              <c:numCache>
                <c:formatCode>_-* #,##0_р_._-;\-* #,##0_р_._-;_-* "-"??_р_._-;_-@_-</c:formatCode>
                <c:ptCount val="2"/>
                <c:pt idx="0">
                  <c:v>657</c:v>
                </c:pt>
                <c:pt idx="1">
                  <c:v>25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9221376"/>
        <c:axId val="149222912"/>
      </c:barChart>
      <c:catAx>
        <c:axId val="1492213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>
                <a:latin typeface="Arial Narrow" panose="020B0606020202030204" pitchFamily="34" charset="0"/>
              </a:defRPr>
            </a:pPr>
            <a:endParaRPr lang="ru-RU"/>
          </a:p>
        </c:txPr>
        <c:crossAx val="149222912"/>
        <c:crosses val="autoZero"/>
        <c:auto val="1"/>
        <c:lblAlgn val="ctr"/>
        <c:lblOffset val="100"/>
        <c:noMultiLvlLbl val="0"/>
      </c:catAx>
      <c:valAx>
        <c:axId val="149222912"/>
        <c:scaling>
          <c:orientation val="minMax"/>
        </c:scaling>
        <c:delete val="1"/>
        <c:axPos val="l"/>
        <c:numFmt formatCode="_-* #,##0_р_._-;\-* #,##0_р_._-;_-* &quot;-&quot;??_р_._-;_-@_-" sourceLinked="1"/>
        <c:majorTickMark val="out"/>
        <c:minorTickMark val="none"/>
        <c:tickLblPos val="nextTo"/>
        <c:crossAx val="14922137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4.2009486652434799E-2"/>
          <c:y val="0.78806604271732572"/>
          <c:w val="0.89999974833127905"/>
          <c:h val="0.1593329548665223"/>
        </c:manualLayout>
      </c:layout>
      <c:overlay val="0"/>
      <c:txPr>
        <a:bodyPr/>
        <a:lstStyle/>
        <a:p>
          <a:pPr>
            <a:defRPr sz="1600">
              <a:latin typeface="Arial Narrow" panose="020B0606020202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4A419F6-8CDC-463A-8060-934A6D169836}" type="doc">
      <dgm:prSet loTypeId="urn:microsoft.com/office/officeart/2005/8/layout/vList5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93879B35-9934-4CD5-8462-F2C7D4E16B50}">
      <dgm:prSet phldrT="[Текст]"/>
      <dgm:spPr/>
      <dgm:t>
        <a:bodyPr/>
        <a:lstStyle/>
        <a:p>
          <a:r>
            <a:rPr lang="ru-RU" dirty="0" smtClean="0"/>
            <a:t>кол-во обоснованных жалоб</a:t>
          </a:r>
          <a:endParaRPr lang="ru-RU" dirty="0"/>
        </a:p>
      </dgm:t>
    </dgm:pt>
    <dgm:pt modelId="{41FA8F02-ECDA-42A3-B958-3E4CA7C51A68}" type="parTrans" cxnId="{114C2E6F-707A-4209-9049-5CD9F5C969FD}">
      <dgm:prSet/>
      <dgm:spPr/>
      <dgm:t>
        <a:bodyPr/>
        <a:lstStyle/>
        <a:p>
          <a:endParaRPr lang="ru-RU"/>
        </a:p>
      </dgm:t>
    </dgm:pt>
    <dgm:pt modelId="{C4FBF090-EC2B-4F2F-A390-E0943980D573}" type="sibTrans" cxnId="{114C2E6F-707A-4209-9049-5CD9F5C969FD}">
      <dgm:prSet/>
      <dgm:spPr/>
      <dgm:t>
        <a:bodyPr/>
        <a:lstStyle/>
        <a:p>
          <a:endParaRPr lang="ru-RU"/>
        </a:p>
      </dgm:t>
    </dgm:pt>
    <dgm:pt modelId="{D90F66D7-DF69-49D1-89A5-C27C0588FB80}">
      <dgm:prSet phldrT="[Текст]" custT="1"/>
      <dgm:spPr/>
      <dgm:t>
        <a:bodyPr/>
        <a:lstStyle/>
        <a:p>
          <a:r>
            <a:rPr lang="ru-RU" sz="1100" dirty="0" smtClean="0"/>
            <a:t>«Самый результативный контролер»</a:t>
          </a:r>
          <a:endParaRPr lang="ru-RU" sz="1100" dirty="0"/>
        </a:p>
      </dgm:t>
    </dgm:pt>
    <dgm:pt modelId="{FD9F63A7-021E-4538-8141-0EC1F5587D70}" type="parTrans" cxnId="{DFCEE84B-6E69-4182-830A-28CDA30494D9}">
      <dgm:prSet/>
      <dgm:spPr/>
      <dgm:t>
        <a:bodyPr/>
        <a:lstStyle/>
        <a:p>
          <a:endParaRPr lang="ru-RU"/>
        </a:p>
      </dgm:t>
    </dgm:pt>
    <dgm:pt modelId="{C9B7E45D-933C-4E68-9CE1-4BC9D5ADB1FF}" type="sibTrans" cxnId="{DFCEE84B-6E69-4182-830A-28CDA30494D9}">
      <dgm:prSet/>
      <dgm:spPr/>
      <dgm:t>
        <a:bodyPr/>
        <a:lstStyle/>
        <a:p>
          <a:endParaRPr lang="ru-RU"/>
        </a:p>
      </dgm:t>
    </dgm:pt>
    <dgm:pt modelId="{3990BB91-A9AC-4F2D-BCF9-8AC7AD10565B}">
      <dgm:prSet phldrT="[Текст]"/>
      <dgm:spPr/>
      <dgm:t>
        <a:bodyPr/>
        <a:lstStyle/>
        <a:p>
          <a:r>
            <a:rPr lang="ru-RU" dirty="0" smtClean="0"/>
            <a:t>уникальность доводов</a:t>
          </a:r>
          <a:endParaRPr lang="ru-RU" dirty="0"/>
        </a:p>
      </dgm:t>
    </dgm:pt>
    <dgm:pt modelId="{77596F4B-98CF-4B03-9FB0-191236A8B631}" type="parTrans" cxnId="{7B125751-5AD7-4C56-A239-9255D9E69775}">
      <dgm:prSet/>
      <dgm:spPr/>
      <dgm:t>
        <a:bodyPr/>
        <a:lstStyle/>
        <a:p>
          <a:endParaRPr lang="ru-RU"/>
        </a:p>
      </dgm:t>
    </dgm:pt>
    <dgm:pt modelId="{2EC4C3A8-0B3F-4C48-8895-31EFE947326B}" type="sibTrans" cxnId="{7B125751-5AD7-4C56-A239-9255D9E69775}">
      <dgm:prSet/>
      <dgm:spPr/>
      <dgm:t>
        <a:bodyPr/>
        <a:lstStyle/>
        <a:p>
          <a:endParaRPr lang="ru-RU"/>
        </a:p>
      </dgm:t>
    </dgm:pt>
    <dgm:pt modelId="{6F7AF59F-8F3C-427B-8485-A212D7BF212F}">
      <dgm:prSet phldrT="[Текст]" custT="1"/>
      <dgm:spPr/>
      <dgm:t>
        <a:bodyPr/>
        <a:lstStyle/>
        <a:p>
          <a:r>
            <a:rPr lang="ru-RU" sz="1100" dirty="0" smtClean="0"/>
            <a:t>«Предотвращение нарушений: снижение рисков»</a:t>
          </a:r>
          <a:endParaRPr lang="ru-RU" sz="1100" dirty="0"/>
        </a:p>
      </dgm:t>
    </dgm:pt>
    <dgm:pt modelId="{3FE7628A-CFB1-4D69-8640-1FA4D94D9C6C}" type="parTrans" cxnId="{40F8022D-0B2D-44FF-AD46-D7C111E2C91B}">
      <dgm:prSet/>
      <dgm:spPr/>
      <dgm:t>
        <a:bodyPr/>
        <a:lstStyle/>
        <a:p>
          <a:endParaRPr lang="ru-RU"/>
        </a:p>
      </dgm:t>
    </dgm:pt>
    <dgm:pt modelId="{A8DCAF27-B326-4AC7-8EBB-16DE2B6F6324}" type="sibTrans" cxnId="{40F8022D-0B2D-44FF-AD46-D7C111E2C91B}">
      <dgm:prSet/>
      <dgm:spPr/>
      <dgm:t>
        <a:bodyPr/>
        <a:lstStyle/>
        <a:p>
          <a:endParaRPr lang="ru-RU"/>
        </a:p>
      </dgm:t>
    </dgm:pt>
    <dgm:pt modelId="{4C8008C2-BD0D-4462-999C-FCB113ED06D5}">
      <dgm:prSet phldrT="[Текст]"/>
      <dgm:spPr/>
      <dgm:t>
        <a:bodyPr/>
        <a:lstStyle/>
        <a:p>
          <a:r>
            <a:rPr lang="ru-RU" dirty="0" smtClean="0"/>
            <a:t>сумма экономии по результатам обжалования</a:t>
          </a:r>
          <a:endParaRPr lang="ru-RU" dirty="0"/>
        </a:p>
      </dgm:t>
    </dgm:pt>
    <dgm:pt modelId="{7DF0C4E1-6030-4EE7-8806-97EE94F0BFF4}" type="parTrans" cxnId="{4DE4A867-6AA5-49AB-9C17-B88016388CED}">
      <dgm:prSet/>
      <dgm:spPr/>
      <dgm:t>
        <a:bodyPr/>
        <a:lstStyle/>
        <a:p>
          <a:endParaRPr lang="ru-RU"/>
        </a:p>
      </dgm:t>
    </dgm:pt>
    <dgm:pt modelId="{F13427EB-0C0D-4395-B648-0473473D8969}" type="sibTrans" cxnId="{4DE4A867-6AA5-49AB-9C17-B88016388CED}">
      <dgm:prSet/>
      <dgm:spPr/>
      <dgm:t>
        <a:bodyPr/>
        <a:lstStyle/>
        <a:p>
          <a:endParaRPr lang="ru-RU"/>
        </a:p>
      </dgm:t>
    </dgm:pt>
    <dgm:pt modelId="{749AE1C4-4002-4463-A195-9CDE2D80C032}">
      <dgm:prSet phldrT="[Текст]" custT="1"/>
      <dgm:spPr/>
      <dgm:t>
        <a:bodyPr/>
        <a:lstStyle/>
        <a:p>
          <a:r>
            <a:rPr lang="ru-RU" sz="1000" dirty="0" smtClean="0"/>
            <a:t>«</a:t>
          </a:r>
          <a:r>
            <a:rPr lang="ru-RU" sz="1100" dirty="0" smtClean="0"/>
            <a:t>Общественный контроль: максимальная экономия»</a:t>
          </a:r>
          <a:endParaRPr lang="ru-RU" sz="1000" dirty="0"/>
        </a:p>
      </dgm:t>
    </dgm:pt>
    <dgm:pt modelId="{94A7037C-8711-4A3A-8A2D-C392F4FC928C}" type="parTrans" cxnId="{85F4AFF9-40B1-4DF1-BFA7-161E56FB1A80}">
      <dgm:prSet/>
      <dgm:spPr/>
      <dgm:t>
        <a:bodyPr/>
        <a:lstStyle/>
        <a:p>
          <a:endParaRPr lang="ru-RU"/>
        </a:p>
      </dgm:t>
    </dgm:pt>
    <dgm:pt modelId="{ABFE8884-5FC4-4494-A5C1-C9F88F79C5DB}" type="sibTrans" cxnId="{85F4AFF9-40B1-4DF1-BFA7-161E56FB1A80}">
      <dgm:prSet/>
      <dgm:spPr/>
      <dgm:t>
        <a:bodyPr/>
        <a:lstStyle/>
        <a:p>
          <a:endParaRPr lang="ru-RU"/>
        </a:p>
      </dgm:t>
    </dgm:pt>
    <dgm:pt modelId="{A2BF700F-406D-40EA-949E-DAF59BD02425}">
      <dgm:prSet phldrT="[Текст]"/>
      <dgm:spPr/>
      <dgm:t>
        <a:bodyPr/>
        <a:lstStyle/>
        <a:p>
          <a:r>
            <a:rPr lang="ru-RU" dirty="0" smtClean="0"/>
            <a:t>репутация контролера при исполнении договоров</a:t>
          </a:r>
          <a:endParaRPr lang="ru-RU" dirty="0"/>
        </a:p>
      </dgm:t>
    </dgm:pt>
    <dgm:pt modelId="{542350DF-6B20-4341-B080-720933B42154}" type="parTrans" cxnId="{66167313-E331-4CC5-B839-CB0EC4E05930}">
      <dgm:prSet/>
      <dgm:spPr/>
      <dgm:t>
        <a:bodyPr/>
        <a:lstStyle/>
        <a:p>
          <a:endParaRPr lang="ru-RU"/>
        </a:p>
      </dgm:t>
    </dgm:pt>
    <dgm:pt modelId="{60B17495-BA5C-478E-AC87-31756F036765}" type="sibTrans" cxnId="{66167313-E331-4CC5-B839-CB0EC4E05930}">
      <dgm:prSet/>
      <dgm:spPr/>
      <dgm:t>
        <a:bodyPr/>
        <a:lstStyle/>
        <a:p>
          <a:endParaRPr lang="ru-RU"/>
        </a:p>
      </dgm:t>
    </dgm:pt>
    <dgm:pt modelId="{5721D4A9-E1E5-4ECC-A454-8DDE48F3C8E6}">
      <dgm:prSet phldrT="[Текст]"/>
      <dgm:spPr/>
      <dgm:t>
        <a:bodyPr/>
        <a:lstStyle/>
        <a:p>
          <a:r>
            <a:rPr lang="ru-RU" dirty="0" smtClean="0"/>
            <a:t>влияние доводов на локальные нормативные акты</a:t>
          </a:r>
          <a:endParaRPr lang="ru-RU" dirty="0"/>
        </a:p>
      </dgm:t>
    </dgm:pt>
    <dgm:pt modelId="{1AE83AA4-1CDA-4A6D-AD25-F0DE7EB72449}" type="parTrans" cxnId="{CCEE9852-EB61-4B55-9E41-E4CEF9E07BD9}">
      <dgm:prSet/>
      <dgm:spPr/>
      <dgm:t>
        <a:bodyPr/>
        <a:lstStyle/>
        <a:p>
          <a:endParaRPr lang="ru-RU"/>
        </a:p>
      </dgm:t>
    </dgm:pt>
    <dgm:pt modelId="{BF2F5EDC-8421-4D62-B3B3-043544F5542A}" type="sibTrans" cxnId="{CCEE9852-EB61-4B55-9E41-E4CEF9E07BD9}">
      <dgm:prSet/>
      <dgm:spPr/>
      <dgm:t>
        <a:bodyPr/>
        <a:lstStyle/>
        <a:p>
          <a:endParaRPr lang="ru-RU"/>
        </a:p>
      </dgm:t>
    </dgm:pt>
    <dgm:pt modelId="{3796CD96-9DDB-4469-A900-0CFD93B57562}">
      <dgm:prSet phldrT="[Текст]" custT="1"/>
      <dgm:spPr/>
      <dgm:t>
        <a:bodyPr/>
        <a:lstStyle/>
        <a:p>
          <a:r>
            <a:rPr lang="ru-RU" sz="1100" dirty="0" smtClean="0"/>
            <a:t>«Общественный контролер – партнер в нормотворчестве атомной отрасли»</a:t>
          </a:r>
          <a:endParaRPr lang="ru-RU" sz="1100" dirty="0"/>
        </a:p>
      </dgm:t>
    </dgm:pt>
    <dgm:pt modelId="{C1FA76DC-B165-4292-BA6F-B6E695C93125}" type="parTrans" cxnId="{007C4A79-A265-437D-AF1D-66588FF1765C}">
      <dgm:prSet/>
      <dgm:spPr/>
      <dgm:t>
        <a:bodyPr/>
        <a:lstStyle/>
        <a:p>
          <a:endParaRPr lang="ru-RU"/>
        </a:p>
      </dgm:t>
    </dgm:pt>
    <dgm:pt modelId="{F82B213D-8656-44A7-A955-C7ABC199F1F0}" type="sibTrans" cxnId="{007C4A79-A265-437D-AF1D-66588FF1765C}">
      <dgm:prSet/>
      <dgm:spPr/>
      <dgm:t>
        <a:bodyPr/>
        <a:lstStyle/>
        <a:p>
          <a:endParaRPr lang="ru-RU"/>
        </a:p>
      </dgm:t>
    </dgm:pt>
    <dgm:pt modelId="{3AA965D7-A8F5-4089-97E2-7907A677F942}">
      <dgm:prSet phldrT="[Текст]"/>
      <dgm:spPr/>
      <dgm:t>
        <a:bodyPr/>
        <a:lstStyle/>
        <a:p>
          <a:r>
            <a:rPr lang="ru-RU" dirty="0" smtClean="0"/>
            <a:t>кол-во закупок с участием контролера</a:t>
          </a:r>
          <a:endParaRPr lang="ru-RU" dirty="0"/>
        </a:p>
      </dgm:t>
    </dgm:pt>
    <dgm:pt modelId="{B4196238-88AB-4224-97FA-D4A880DF1473}" type="parTrans" cxnId="{2D2A6BB6-1DB2-4662-BCE4-2BB49E2EDEB6}">
      <dgm:prSet/>
      <dgm:spPr/>
      <dgm:t>
        <a:bodyPr/>
        <a:lstStyle/>
        <a:p>
          <a:endParaRPr lang="ru-RU"/>
        </a:p>
      </dgm:t>
    </dgm:pt>
    <dgm:pt modelId="{86F43A62-BF36-4DED-9B0F-7B31CA859B58}" type="sibTrans" cxnId="{2D2A6BB6-1DB2-4662-BCE4-2BB49E2EDEB6}">
      <dgm:prSet/>
      <dgm:spPr/>
      <dgm:t>
        <a:bodyPr/>
        <a:lstStyle/>
        <a:p>
          <a:endParaRPr lang="ru-RU"/>
        </a:p>
      </dgm:t>
    </dgm:pt>
    <dgm:pt modelId="{BDED5669-8C45-4B5C-A34F-AEF4C62ACBAE}">
      <dgm:prSet phldrT="[Текст]" custT="1"/>
      <dgm:spPr/>
      <dgm:t>
        <a:bodyPr/>
        <a:lstStyle/>
        <a:p>
          <a:r>
            <a:rPr lang="ru-RU" sz="1100" dirty="0" smtClean="0"/>
            <a:t>«Самый активный контролер» </a:t>
          </a:r>
          <a:endParaRPr lang="ru-RU" sz="1100" dirty="0"/>
        </a:p>
      </dgm:t>
    </dgm:pt>
    <dgm:pt modelId="{62157AAF-C5E9-4C32-958C-8577BEEF7770}" type="parTrans" cxnId="{79C72BB2-E2E9-4169-B5F0-EC2F90308664}">
      <dgm:prSet/>
      <dgm:spPr/>
      <dgm:t>
        <a:bodyPr/>
        <a:lstStyle/>
        <a:p>
          <a:endParaRPr lang="ru-RU"/>
        </a:p>
      </dgm:t>
    </dgm:pt>
    <dgm:pt modelId="{23EAA9D6-9B26-49AF-B1F3-3A126A4F9E66}" type="sibTrans" cxnId="{79C72BB2-E2E9-4169-B5F0-EC2F90308664}">
      <dgm:prSet/>
      <dgm:spPr/>
      <dgm:t>
        <a:bodyPr/>
        <a:lstStyle/>
        <a:p>
          <a:endParaRPr lang="ru-RU"/>
        </a:p>
      </dgm:t>
    </dgm:pt>
    <dgm:pt modelId="{5F8C152D-1708-4DB7-B6C8-9E5F64FB8758}" type="pres">
      <dgm:prSet presAssocID="{D4A419F6-8CDC-463A-8060-934A6D16983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59538A3-4A40-4742-AE8F-1ABD92420D9D}" type="pres">
      <dgm:prSet presAssocID="{93879B35-9934-4CD5-8462-F2C7D4E16B50}" presName="linNode" presStyleCnt="0"/>
      <dgm:spPr/>
    </dgm:pt>
    <dgm:pt modelId="{89914918-F974-4F28-9C07-939C278DF368}" type="pres">
      <dgm:prSet presAssocID="{93879B35-9934-4CD5-8462-F2C7D4E16B50}" presName="parentText" presStyleLbl="node1" presStyleIdx="0" presStyleCnt="6" custScaleX="100000" custLinFactNeighborX="611" custLinFactNeighborY="2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6B3CC1-2000-4B30-8DD2-5EFEAA50BA6D}" type="pres">
      <dgm:prSet presAssocID="{93879B35-9934-4CD5-8462-F2C7D4E16B50}" presName="descendantText" presStyleLbl="align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101574-0939-4F76-A64D-D31A96B86099}" type="pres">
      <dgm:prSet presAssocID="{C4FBF090-EC2B-4F2F-A390-E0943980D573}" presName="sp" presStyleCnt="0"/>
      <dgm:spPr/>
    </dgm:pt>
    <dgm:pt modelId="{A845AD3A-3D64-4723-B3BE-ABC68F4C84CB}" type="pres">
      <dgm:prSet presAssocID="{3990BB91-A9AC-4F2D-BCF9-8AC7AD10565B}" presName="linNode" presStyleCnt="0"/>
      <dgm:spPr/>
    </dgm:pt>
    <dgm:pt modelId="{4C4330F4-D165-4090-B1F5-11A9ABAC8E18}" type="pres">
      <dgm:prSet presAssocID="{3990BB91-A9AC-4F2D-BCF9-8AC7AD10565B}" presName="parentText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5DC035-FE03-4DC2-9618-F939DE3ED5C2}" type="pres">
      <dgm:prSet presAssocID="{3990BB91-A9AC-4F2D-BCF9-8AC7AD10565B}" presName="descendantText" presStyleLbl="align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2F5F90-DD8F-432A-8038-8DFC2EBD56BD}" type="pres">
      <dgm:prSet presAssocID="{2EC4C3A8-0B3F-4C48-8895-31EFE947326B}" presName="sp" presStyleCnt="0"/>
      <dgm:spPr/>
    </dgm:pt>
    <dgm:pt modelId="{229B3389-4DBF-4AA6-9FA4-E9D396138293}" type="pres">
      <dgm:prSet presAssocID="{4C8008C2-BD0D-4462-999C-FCB113ED06D5}" presName="linNode" presStyleCnt="0"/>
      <dgm:spPr/>
    </dgm:pt>
    <dgm:pt modelId="{A9FF61E8-8363-47EF-9D8B-4E5BCCAF021C}" type="pres">
      <dgm:prSet presAssocID="{4C8008C2-BD0D-4462-999C-FCB113ED06D5}" presName="parentText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8B32F8D-0D42-4550-B62B-F3764EAF6051}" type="pres">
      <dgm:prSet presAssocID="{4C8008C2-BD0D-4462-999C-FCB113ED06D5}" presName="descendantText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CC7B14D-A5B6-4630-8CCA-716AE3AA7F14}" type="pres">
      <dgm:prSet presAssocID="{F13427EB-0C0D-4395-B648-0473473D8969}" presName="sp" presStyleCnt="0"/>
      <dgm:spPr/>
    </dgm:pt>
    <dgm:pt modelId="{CEB347F7-C860-468B-8802-D15EA3FC75C9}" type="pres">
      <dgm:prSet presAssocID="{5721D4A9-E1E5-4ECC-A454-8DDE48F3C8E6}" presName="linNode" presStyleCnt="0"/>
      <dgm:spPr/>
    </dgm:pt>
    <dgm:pt modelId="{55AA6276-5411-4E9E-A576-CD39801468CA}" type="pres">
      <dgm:prSet presAssocID="{5721D4A9-E1E5-4ECC-A454-8DDE48F3C8E6}" presName="parentText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354AFF8-FA3E-48E8-BEFB-AFDF21636BA2}" type="pres">
      <dgm:prSet presAssocID="{5721D4A9-E1E5-4ECC-A454-8DDE48F3C8E6}" presName="descendantText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78F9C3-F2B4-43AA-9ADC-3B9AC3732846}" type="pres">
      <dgm:prSet presAssocID="{BF2F5EDC-8421-4D62-B3B3-043544F5542A}" presName="sp" presStyleCnt="0"/>
      <dgm:spPr/>
    </dgm:pt>
    <dgm:pt modelId="{DECE775F-B6FB-4ED3-AC03-B145BA0E80A0}" type="pres">
      <dgm:prSet presAssocID="{3AA965D7-A8F5-4089-97E2-7907A677F942}" presName="linNode" presStyleCnt="0"/>
      <dgm:spPr/>
    </dgm:pt>
    <dgm:pt modelId="{33EC30F7-D215-4756-AF7E-35C0354D380C}" type="pres">
      <dgm:prSet presAssocID="{3AA965D7-A8F5-4089-97E2-7907A677F942}" presName="parentText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E16A256-45CE-4F32-897D-7FFC9D3362F4}" type="pres">
      <dgm:prSet presAssocID="{3AA965D7-A8F5-4089-97E2-7907A677F942}" presName="descendantText" presStyleLbl="align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992720-E9E0-4472-BA1C-D0ED11A9EDFF}" type="pres">
      <dgm:prSet presAssocID="{86F43A62-BF36-4DED-9B0F-7B31CA859B58}" presName="sp" presStyleCnt="0"/>
      <dgm:spPr/>
    </dgm:pt>
    <dgm:pt modelId="{E5F42D19-DD60-4B85-8165-6407406224C6}" type="pres">
      <dgm:prSet presAssocID="{A2BF700F-406D-40EA-949E-DAF59BD02425}" presName="linNode" presStyleCnt="0"/>
      <dgm:spPr/>
    </dgm:pt>
    <dgm:pt modelId="{6E426F08-FD2D-4F03-98CE-482EADBD8541}" type="pres">
      <dgm:prSet presAssocID="{A2BF700F-406D-40EA-949E-DAF59BD02425}" presName="parentText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9DF0295-143C-4B3E-AC1D-ED8E9F1F86F3}" type="presOf" srcId="{5721D4A9-E1E5-4ECC-A454-8DDE48F3C8E6}" destId="{55AA6276-5411-4E9E-A576-CD39801468CA}" srcOrd="0" destOrd="0" presId="urn:microsoft.com/office/officeart/2005/8/layout/vList5"/>
    <dgm:cxn modelId="{DF011E2D-2BA7-4E5F-A959-416B5B0B6969}" type="presOf" srcId="{4C8008C2-BD0D-4462-999C-FCB113ED06D5}" destId="{A9FF61E8-8363-47EF-9D8B-4E5BCCAF021C}" srcOrd="0" destOrd="0" presId="urn:microsoft.com/office/officeart/2005/8/layout/vList5"/>
    <dgm:cxn modelId="{91E603DA-10A8-4C9C-A7F1-BFFE20FB713E}" type="presOf" srcId="{3AA965D7-A8F5-4089-97E2-7907A677F942}" destId="{33EC30F7-D215-4756-AF7E-35C0354D380C}" srcOrd="0" destOrd="0" presId="urn:microsoft.com/office/officeart/2005/8/layout/vList5"/>
    <dgm:cxn modelId="{7B125751-5AD7-4C56-A239-9255D9E69775}" srcId="{D4A419F6-8CDC-463A-8060-934A6D169836}" destId="{3990BB91-A9AC-4F2D-BCF9-8AC7AD10565B}" srcOrd="1" destOrd="0" parTransId="{77596F4B-98CF-4B03-9FB0-191236A8B631}" sibTransId="{2EC4C3A8-0B3F-4C48-8895-31EFE947326B}"/>
    <dgm:cxn modelId="{AF218482-431A-4D40-A1CC-66184410628A}" type="presOf" srcId="{A2BF700F-406D-40EA-949E-DAF59BD02425}" destId="{6E426F08-FD2D-4F03-98CE-482EADBD8541}" srcOrd="0" destOrd="0" presId="urn:microsoft.com/office/officeart/2005/8/layout/vList5"/>
    <dgm:cxn modelId="{66167313-E331-4CC5-B839-CB0EC4E05930}" srcId="{D4A419F6-8CDC-463A-8060-934A6D169836}" destId="{A2BF700F-406D-40EA-949E-DAF59BD02425}" srcOrd="5" destOrd="0" parTransId="{542350DF-6B20-4341-B080-720933B42154}" sibTransId="{60B17495-BA5C-478E-AC87-31756F036765}"/>
    <dgm:cxn modelId="{336A0120-CEDB-4886-8640-5AF0E4EA1E49}" type="presOf" srcId="{93879B35-9934-4CD5-8462-F2C7D4E16B50}" destId="{89914918-F974-4F28-9C07-939C278DF368}" srcOrd="0" destOrd="0" presId="urn:microsoft.com/office/officeart/2005/8/layout/vList5"/>
    <dgm:cxn modelId="{7185A902-5DFA-49CD-8558-446FD7E986CD}" type="presOf" srcId="{3796CD96-9DDB-4469-A900-0CFD93B57562}" destId="{E354AFF8-FA3E-48E8-BEFB-AFDF21636BA2}" srcOrd="0" destOrd="0" presId="urn:microsoft.com/office/officeart/2005/8/layout/vList5"/>
    <dgm:cxn modelId="{21DAFF7D-20C1-449A-8092-B07AA0875099}" type="presOf" srcId="{D90F66D7-DF69-49D1-89A5-C27C0588FB80}" destId="{9B6B3CC1-2000-4B30-8DD2-5EFEAA50BA6D}" srcOrd="0" destOrd="0" presId="urn:microsoft.com/office/officeart/2005/8/layout/vList5"/>
    <dgm:cxn modelId="{46546E90-EC72-4ED5-BCE0-09A47DE1776A}" type="presOf" srcId="{D4A419F6-8CDC-463A-8060-934A6D169836}" destId="{5F8C152D-1708-4DB7-B6C8-9E5F64FB8758}" srcOrd="0" destOrd="0" presId="urn:microsoft.com/office/officeart/2005/8/layout/vList5"/>
    <dgm:cxn modelId="{F47B395F-C84C-4C5C-9F48-3C97F2D56C35}" type="presOf" srcId="{6F7AF59F-8F3C-427B-8485-A212D7BF212F}" destId="{AC5DC035-FE03-4DC2-9618-F939DE3ED5C2}" srcOrd="0" destOrd="0" presId="urn:microsoft.com/office/officeart/2005/8/layout/vList5"/>
    <dgm:cxn modelId="{DFCEE84B-6E69-4182-830A-28CDA30494D9}" srcId="{93879B35-9934-4CD5-8462-F2C7D4E16B50}" destId="{D90F66D7-DF69-49D1-89A5-C27C0588FB80}" srcOrd="0" destOrd="0" parTransId="{FD9F63A7-021E-4538-8141-0EC1F5587D70}" sibTransId="{C9B7E45D-933C-4E68-9CE1-4BC9D5ADB1FF}"/>
    <dgm:cxn modelId="{85F4AFF9-40B1-4DF1-BFA7-161E56FB1A80}" srcId="{4C8008C2-BD0D-4462-999C-FCB113ED06D5}" destId="{749AE1C4-4002-4463-A195-9CDE2D80C032}" srcOrd="0" destOrd="0" parTransId="{94A7037C-8711-4A3A-8A2D-C392F4FC928C}" sibTransId="{ABFE8884-5FC4-4494-A5C1-C9F88F79C5DB}"/>
    <dgm:cxn modelId="{114C2E6F-707A-4209-9049-5CD9F5C969FD}" srcId="{D4A419F6-8CDC-463A-8060-934A6D169836}" destId="{93879B35-9934-4CD5-8462-F2C7D4E16B50}" srcOrd="0" destOrd="0" parTransId="{41FA8F02-ECDA-42A3-B958-3E4CA7C51A68}" sibTransId="{C4FBF090-EC2B-4F2F-A390-E0943980D573}"/>
    <dgm:cxn modelId="{A1490ACC-3704-44D8-8E13-59B704AAF9FD}" type="presOf" srcId="{BDED5669-8C45-4B5C-A34F-AEF4C62ACBAE}" destId="{0E16A256-45CE-4F32-897D-7FFC9D3362F4}" srcOrd="0" destOrd="0" presId="urn:microsoft.com/office/officeart/2005/8/layout/vList5"/>
    <dgm:cxn modelId="{40F8022D-0B2D-44FF-AD46-D7C111E2C91B}" srcId="{3990BB91-A9AC-4F2D-BCF9-8AC7AD10565B}" destId="{6F7AF59F-8F3C-427B-8485-A212D7BF212F}" srcOrd="0" destOrd="0" parTransId="{3FE7628A-CFB1-4D69-8640-1FA4D94D9C6C}" sibTransId="{A8DCAF27-B326-4AC7-8EBB-16DE2B6F6324}"/>
    <dgm:cxn modelId="{9240CD26-6A54-407E-9061-5C5429ED3788}" type="presOf" srcId="{749AE1C4-4002-4463-A195-9CDE2D80C032}" destId="{38B32F8D-0D42-4550-B62B-F3764EAF6051}" srcOrd="0" destOrd="0" presId="urn:microsoft.com/office/officeart/2005/8/layout/vList5"/>
    <dgm:cxn modelId="{4DE4A867-6AA5-49AB-9C17-B88016388CED}" srcId="{D4A419F6-8CDC-463A-8060-934A6D169836}" destId="{4C8008C2-BD0D-4462-999C-FCB113ED06D5}" srcOrd="2" destOrd="0" parTransId="{7DF0C4E1-6030-4EE7-8806-97EE94F0BFF4}" sibTransId="{F13427EB-0C0D-4395-B648-0473473D8969}"/>
    <dgm:cxn modelId="{007C4A79-A265-437D-AF1D-66588FF1765C}" srcId="{5721D4A9-E1E5-4ECC-A454-8DDE48F3C8E6}" destId="{3796CD96-9DDB-4469-A900-0CFD93B57562}" srcOrd="0" destOrd="0" parTransId="{C1FA76DC-B165-4292-BA6F-B6E695C93125}" sibTransId="{F82B213D-8656-44A7-A955-C7ABC199F1F0}"/>
    <dgm:cxn modelId="{79C72BB2-E2E9-4169-B5F0-EC2F90308664}" srcId="{3AA965D7-A8F5-4089-97E2-7907A677F942}" destId="{BDED5669-8C45-4B5C-A34F-AEF4C62ACBAE}" srcOrd="0" destOrd="0" parTransId="{62157AAF-C5E9-4C32-958C-8577BEEF7770}" sibTransId="{23EAA9D6-9B26-49AF-B1F3-3A126A4F9E66}"/>
    <dgm:cxn modelId="{2D2A6BB6-1DB2-4662-BCE4-2BB49E2EDEB6}" srcId="{D4A419F6-8CDC-463A-8060-934A6D169836}" destId="{3AA965D7-A8F5-4089-97E2-7907A677F942}" srcOrd="4" destOrd="0" parTransId="{B4196238-88AB-4224-97FA-D4A880DF1473}" sibTransId="{86F43A62-BF36-4DED-9B0F-7B31CA859B58}"/>
    <dgm:cxn modelId="{CCEE9852-EB61-4B55-9E41-E4CEF9E07BD9}" srcId="{D4A419F6-8CDC-463A-8060-934A6D169836}" destId="{5721D4A9-E1E5-4ECC-A454-8DDE48F3C8E6}" srcOrd="3" destOrd="0" parTransId="{1AE83AA4-1CDA-4A6D-AD25-F0DE7EB72449}" sibTransId="{BF2F5EDC-8421-4D62-B3B3-043544F5542A}"/>
    <dgm:cxn modelId="{ECFFAC55-16FE-4C98-98F8-24004D6DCA5C}" type="presOf" srcId="{3990BB91-A9AC-4F2D-BCF9-8AC7AD10565B}" destId="{4C4330F4-D165-4090-B1F5-11A9ABAC8E18}" srcOrd="0" destOrd="0" presId="urn:microsoft.com/office/officeart/2005/8/layout/vList5"/>
    <dgm:cxn modelId="{2163F50A-DB5A-4ACF-9439-2FA31ACEB87A}" type="presParOf" srcId="{5F8C152D-1708-4DB7-B6C8-9E5F64FB8758}" destId="{F59538A3-4A40-4742-AE8F-1ABD92420D9D}" srcOrd="0" destOrd="0" presId="urn:microsoft.com/office/officeart/2005/8/layout/vList5"/>
    <dgm:cxn modelId="{BF2727DC-DB79-4AE4-BB12-1C5BAC727365}" type="presParOf" srcId="{F59538A3-4A40-4742-AE8F-1ABD92420D9D}" destId="{89914918-F974-4F28-9C07-939C278DF368}" srcOrd="0" destOrd="0" presId="urn:microsoft.com/office/officeart/2005/8/layout/vList5"/>
    <dgm:cxn modelId="{3F9E06AD-360A-41C1-9093-F74FF885D1A2}" type="presParOf" srcId="{F59538A3-4A40-4742-AE8F-1ABD92420D9D}" destId="{9B6B3CC1-2000-4B30-8DD2-5EFEAA50BA6D}" srcOrd="1" destOrd="0" presId="urn:microsoft.com/office/officeart/2005/8/layout/vList5"/>
    <dgm:cxn modelId="{F40E46F2-1640-451E-AA10-9352BF77E15F}" type="presParOf" srcId="{5F8C152D-1708-4DB7-B6C8-9E5F64FB8758}" destId="{58101574-0939-4F76-A64D-D31A96B86099}" srcOrd="1" destOrd="0" presId="urn:microsoft.com/office/officeart/2005/8/layout/vList5"/>
    <dgm:cxn modelId="{85D5133C-BDEB-4A4F-9EDE-779E275E88DB}" type="presParOf" srcId="{5F8C152D-1708-4DB7-B6C8-9E5F64FB8758}" destId="{A845AD3A-3D64-4723-B3BE-ABC68F4C84CB}" srcOrd="2" destOrd="0" presId="urn:microsoft.com/office/officeart/2005/8/layout/vList5"/>
    <dgm:cxn modelId="{204CE693-1B30-4F27-8E22-F5ACF0780F8E}" type="presParOf" srcId="{A845AD3A-3D64-4723-B3BE-ABC68F4C84CB}" destId="{4C4330F4-D165-4090-B1F5-11A9ABAC8E18}" srcOrd="0" destOrd="0" presId="urn:microsoft.com/office/officeart/2005/8/layout/vList5"/>
    <dgm:cxn modelId="{1AE0A514-B2F3-4577-8AE3-BD4CE7A6EDF9}" type="presParOf" srcId="{A845AD3A-3D64-4723-B3BE-ABC68F4C84CB}" destId="{AC5DC035-FE03-4DC2-9618-F939DE3ED5C2}" srcOrd="1" destOrd="0" presId="urn:microsoft.com/office/officeart/2005/8/layout/vList5"/>
    <dgm:cxn modelId="{71CC671D-591C-4586-B20A-30AC28D9CBC7}" type="presParOf" srcId="{5F8C152D-1708-4DB7-B6C8-9E5F64FB8758}" destId="{EE2F5F90-DD8F-432A-8038-8DFC2EBD56BD}" srcOrd="3" destOrd="0" presId="urn:microsoft.com/office/officeart/2005/8/layout/vList5"/>
    <dgm:cxn modelId="{7C96D485-973B-4459-B727-B4CE4C71EF8B}" type="presParOf" srcId="{5F8C152D-1708-4DB7-B6C8-9E5F64FB8758}" destId="{229B3389-4DBF-4AA6-9FA4-E9D396138293}" srcOrd="4" destOrd="0" presId="urn:microsoft.com/office/officeart/2005/8/layout/vList5"/>
    <dgm:cxn modelId="{38358269-1549-40F2-9F2E-67E35766C623}" type="presParOf" srcId="{229B3389-4DBF-4AA6-9FA4-E9D396138293}" destId="{A9FF61E8-8363-47EF-9D8B-4E5BCCAF021C}" srcOrd="0" destOrd="0" presId="urn:microsoft.com/office/officeart/2005/8/layout/vList5"/>
    <dgm:cxn modelId="{AD39C160-1EDF-4A63-AB58-3C5B75DCDF78}" type="presParOf" srcId="{229B3389-4DBF-4AA6-9FA4-E9D396138293}" destId="{38B32F8D-0D42-4550-B62B-F3764EAF6051}" srcOrd="1" destOrd="0" presId="urn:microsoft.com/office/officeart/2005/8/layout/vList5"/>
    <dgm:cxn modelId="{097B9320-9EA8-4304-80C1-26A1D09A0EC0}" type="presParOf" srcId="{5F8C152D-1708-4DB7-B6C8-9E5F64FB8758}" destId="{ECC7B14D-A5B6-4630-8CCA-716AE3AA7F14}" srcOrd="5" destOrd="0" presId="urn:microsoft.com/office/officeart/2005/8/layout/vList5"/>
    <dgm:cxn modelId="{4AE9427B-CF31-4CFC-BED4-8B6C6618452E}" type="presParOf" srcId="{5F8C152D-1708-4DB7-B6C8-9E5F64FB8758}" destId="{CEB347F7-C860-468B-8802-D15EA3FC75C9}" srcOrd="6" destOrd="0" presId="urn:microsoft.com/office/officeart/2005/8/layout/vList5"/>
    <dgm:cxn modelId="{A18F9B6F-A08D-448A-A99F-DD7007EDAB79}" type="presParOf" srcId="{CEB347F7-C860-468B-8802-D15EA3FC75C9}" destId="{55AA6276-5411-4E9E-A576-CD39801468CA}" srcOrd="0" destOrd="0" presId="urn:microsoft.com/office/officeart/2005/8/layout/vList5"/>
    <dgm:cxn modelId="{6C05CBBE-38F2-4AEA-AB66-52DB81CF2D54}" type="presParOf" srcId="{CEB347F7-C860-468B-8802-D15EA3FC75C9}" destId="{E354AFF8-FA3E-48E8-BEFB-AFDF21636BA2}" srcOrd="1" destOrd="0" presId="urn:microsoft.com/office/officeart/2005/8/layout/vList5"/>
    <dgm:cxn modelId="{2909AD46-2B96-4C45-ABBB-0285E22FADFE}" type="presParOf" srcId="{5F8C152D-1708-4DB7-B6C8-9E5F64FB8758}" destId="{C778F9C3-F2B4-43AA-9ADC-3B9AC3732846}" srcOrd="7" destOrd="0" presId="urn:microsoft.com/office/officeart/2005/8/layout/vList5"/>
    <dgm:cxn modelId="{76BB3288-4189-4EED-8CB6-7EA5A126AD7B}" type="presParOf" srcId="{5F8C152D-1708-4DB7-B6C8-9E5F64FB8758}" destId="{DECE775F-B6FB-4ED3-AC03-B145BA0E80A0}" srcOrd="8" destOrd="0" presId="urn:microsoft.com/office/officeart/2005/8/layout/vList5"/>
    <dgm:cxn modelId="{E4163412-111C-4ABC-9FC7-86467A71CDA9}" type="presParOf" srcId="{DECE775F-B6FB-4ED3-AC03-B145BA0E80A0}" destId="{33EC30F7-D215-4756-AF7E-35C0354D380C}" srcOrd="0" destOrd="0" presId="urn:microsoft.com/office/officeart/2005/8/layout/vList5"/>
    <dgm:cxn modelId="{BCE2ED22-F7EB-451D-8176-0D8B53612197}" type="presParOf" srcId="{DECE775F-B6FB-4ED3-AC03-B145BA0E80A0}" destId="{0E16A256-45CE-4F32-897D-7FFC9D3362F4}" srcOrd="1" destOrd="0" presId="urn:microsoft.com/office/officeart/2005/8/layout/vList5"/>
    <dgm:cxn modelId="{17081CCB-908A-45DF-B988-E4E2AF89E11B}" type="presParOf" srcId="{5F8C152D-1708-4DB7-B6C8-9E5F64FB8758}" destId="{12992720-E9E0-4472-BA1C-D0ED11A9EDFF}" srcOrd="9" destOrd="0" presId="urn:microsoft.com/office/officeart/2005/8/layout/vList5"/>
    <dgm:cxn modelId="{18073583-FFB9-4ABE-8074-5A0A2ECC41D9}" type="presParOf" srcId="{5F8C152D-1708-4DB7-B6C8-9E5F64FB8758}" destId="{E5F42D19-DD60-4B85-8165-6407406224C6}" srcOrd="10" destOrd="0" presId="urn:microsoft.com/office/officeart/2005/8/layout/vList5"/>
    <dgm:cxn modelId="{FBB4268A-0344-4FAA-A4C9-1155B24A196E}" type="presParOf" srcId="{E5F42D19-DD60-4B85-8165-6407406224C6}" destId="{6E426F08-FD2D-4F03-98CE-482EADBD8541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9A9E04-BE4C-4BDD-8206-18BE76875788}" type="doc">
      <dgm:prSet loTypeId="urn:microsoft.com/office/officeart/2005/8/layout/process1" loCatId="process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A6DDDFCF-D004-4E46-B02E-AE1C258807D7}">
      <dgm:prSet phldrT="[Текст]" custT="1"/>
      <dgm:spPr>
        <a:ln w="12700"/>
      </dgm:spPr>
      <dgm:t>
        <a:bodyPr/>
        <a:lstStyle/>
        <a:p>
          <a:r>
            <a:rPr lang="ru-RU" sz="1400" b="1" dirty="0" smtClean="0"/>
            <a:t>Инициирование заявок (</a:t>
          </a:r>
          <a:r>
            <a:rPr lang="ru-RU" sz="1400" b="1" dirty="0" err="1" smtClean="0"/>
            <a:t>янв-авг</a:t>
          </a:r>
          <a:r>
            <a:rPr lang="ru-RU" sz="1400" b="1" dirty="0" smtClean="0"/>
            <a:t>)</a:t>
          </a:r>
          <a:endParaRPr lang="ru-RU" sz="1400" b="1" dirty="0"/>
        </a:p>
      </dgm:t>
    </dgm:pt>
    <dgm:pt modelId="{AC774A8A-9772-45AA-B1A7-0CE04C1F9727}" type="parTrans" cxnId="{441A71DE-F788-4D87-BDC1-B71D12A0FCE4}">
      <dgm:prSet/>
      <dgm:spPr/>
      <dgm:t>
        <a:bodyPr/>
        <a:lstStyle/>
        <a:p>
          <a:endParaRPr lang="ru-RU"/>
        </a:p>
      </dgm:t>
    </dgm:pt>
    <dgm:pt modelId="{2ADD3F96-5228-4FFF-9760-B029A30AB010}" type="sibTrans" cxnId="{441A71DE-F788-4D87-BDC1-B71D12A0FCE4}">
      <dgm:prSet/>
      <dgm:spPr/>
      <dgm:t>
        <a:bodyPr/>
        <a:lstStyle/>
        <a:p>
          <a:endParaRPr lang="ru-RU"/>
        </a:p>
      </dgm:t>
    </dgm:pt>
    <dgm:pt modelId="{341257E5-B00B-435F-9CBD-6DBE2E158D05}">
      <dgm:prSet phldrT="[Текст]" custT="1"/>
      <dgm:spPr>
        <a:ln w="12700"/>
      </dgm:spPr>
      <dgm:t>
        <a:bodyPr/>
        <a:lstStyle/>
        <a:p>
          <a:r>
            <a:rPr lang="ru-RU" sz="1050" dirty="0" smtClean="0"/>
            <a:t> участники закупок</a:t>
          </a:r>
          <a:endParaRPr lang="ru-RU" sz="1050" dirty="0"/>
        </a:p>
      </dgm:t>
    </dgm:pt>
    <dgm:pt modelId="{3D77F25F-BCE1-432C-ADB1-E1150DA8053A}" type="parTrans" cxnId="{BE02CCF6-ECA2-4BC4-9BF9-5DEBEABAF082}">
      <dgm:prSet/>
      <dgm:spPr/>
      <dgm:t>
        <a:bodyPr/>
        <a:lstStyle/>
        <a:p>
          <a:endParaRPr lang="ru-RU"/>
        </a:p>
      </dgm:t>
    </dgm:pt>
    <dgm:pt modelId="{FF439956-D196-43FD-BB7B-D92D7DAEBB6A}" type="sibTrans" cxnId="{BE02CCF6-ECA2-4BC4-9BF9-5DEBEABAF082}">
      <dgm:prSet/>
      <dgm:spPr/>
      <dgm:t>
        <a:bodyPr/>
        <a:lstStyle/>
        <a:p>
          <a:endParaRPr lang="ru-RU"/>
        </a:p>
      </dgm:t>
    </dgm:pt>
    <dgm:pt modelId="{E323BE23-911A-44F2-88B5-3E29EBDCE0DC}">
      <dgm:prSet phldrT="[Текст]" custT="1"/>
      <dgm:spPr>
        <a:ln w="12700"/>
      </dgm:spPr>
      <dgm:t>
        <a:bodyPr/>
        <a:lstStyle/>
        <a:p>
          <a:r>
            <a:rPr lang="ru-RU" sz="1600" b="1" dirty="0" smtClean="0"/>
            <a:t>Оценка заявок (сентябрь)</a:t>
          </a:r>
          <a:endParaRPr lang="ru-RU" sz="1600" b="1" dirty="0"/>
        </a:p>
      </dgm:t>
    </dgm:pt>
    <dgm:pt modelId="{288F648F-7BFD-45ED-80CA-849BE62EA90D}" type="parTrans" cxnId="{D2182C64-DDAF-4C48-9413-683944FABB80}">
      <dgm:prSet/>
      <dgm:spPr/>
      <dgm:t>
        <a:bodyPr/>
        <a:lstStyle/>
        <a:p>
          <a:endParaRPr lang="ru-RU"/>
        </a:p>
      </dgm:t>
    </dgm:pt>
    <dgm:pt modelId="{C4B7223E-B4DC-4F77-A688-D27D3FCF8A6A}" type="sibTrans" cxnId="{D2182C64-DDAF-4C48-9413-683944FABB80}">
      <dgm:prSet/>
      <dgm:spPr/>
      <dgm:t>
        <a:bodyPr/>
        <a:lstStyle/>
        <a:p>
          <a:endParaRPr lang="ru-RU"/>
        </a:p>
      </dgm:t>
    </dgm:pt>
    <dgm:pt modelId="{B707B0CB-DE70-43DA-9690-3401DF2F7F2C}">
      <dgm:prSet phldrT="[Текст]" custT="1"/>
      <dgm:spPr>
        <a:ln w="12700"/>
      </dgm:spPr>
      <dgm:t>
        <a:bodyPr/>
        <a:lstStyle/>
        <a:p>
          <a:r>
            <a:rPr lang="ru-RU" sz="1100" dirty="0" smtClean="0"/>
            <a:t>Конкурсная комиссия</a:t>
          </a:r>
          <a:endParaRPr lang="ru-RU" sz="1100" dirty="0"/>
        </a:p>
      </dgm:t>
    </dgm:pt>
    <dgm:pt modelId="{3AD95F43-1E2D-4281-B7F7-9C0ED8572ADD}" type="parTrans" cxnId="{6C5A5C7B-DCFE-4EB2-BB9F-16705531F3DA}">
      <dgm:prSet/>
      <dgm:spPr/>
      <dgm:t>
        <a:bodyPr/>
        <a:lstStyle/>
        <a:p>
          <a:endParaRPr lang="ru-RU"/>
        </a:p>
      </dgm:t>
    </dgm:pt>
    <dgm:pt modelId="{017BCF43-40C9-418D-926A-706CB06BAA31}" type="sibTrans" cxnId="{6C5A5C7B-DCFE-4EB2-BB9F-16705531F3DA}">
      <dgm:prSet/>
      <dgm:spPr/>
      <dgm:t>
        <a:bodyPr/>
        <a:lstStyle/>
        <a:p>
          <a:endParaRPr lang="ru-RU"/>
        </a:p>
      </dgm:t>
    </dgm:pt>
    <dgm:pt modelId="{796123C2-631B-4621-8AE7-CA410B7CA9D4}">
      <dgm:prSet phldrT="[Текст]" custT="1"/>
      <dgm:spPr/>
      <dgm:t>
        <a:bodyPr/>
        <a:lstStyle/>
        <a:p>
          <a:r>
            <a:rPr lang="ru-RU" sz="1800" b="1" dirty="0" smtClean="0"/>
            <a:t>Награждение                   (16 </a:t>
          </a:r>
          <a:r>
            <a:rPr lang="ru-RU" sz="1800" b="1" dirty="0" err="1" smtClean="0"/>
            <a:t>окт</a:t>
          </a:r>
          <a:r>
            <a:rPr lang="ru-RU" sz="1800" b="1" dirty="0" smtClean="0"/>
            <a:t>)</a:t>
          </a:r>
          <a:endParaRPr lang="en-US" sz="1800" b="1" dirty="0" smtClean="0"/>
        </a:p>
        <a:p>
          <a:r>
            <a:rPr lang="ru-RU" sz="1400" b="0" dirty="0" smtClean="0"/>
            <a:t>на форуме «Атомекс»</a:t>
          </a:r>
          <a:endParaRPr lang="ru-RU" sz="1400" b="0" dirty="0"/>
        </a:p>
      </dgm:t>
    </dgm:pt>
    <dgm:pt modelId="{CB407FEF-F627-4141-A3E7-85C81D81FDCB}" type="parTrans" cxnId="{84B85DBC-2F63-4AE3-9C50-960011F7F3A7}">
      <dgm:prSet/>
      <dgm:spPr/>
      <dgm:t>
        <a:bodyPr/>
        <a:lstStyle/>
        <a:p>
          <a:endParaRPr lang="ru-RU"/>
        </a:p>
      </dgm:t>
    </dgm:pt>
    <dgm:pt modelId="{E77CCA67-CA66-403D-B451-8EEAA059F123}" type="sibTrans" cxnId="{84B85DBC-2F63-4AE3-9C50-960011F7F3A7}">
      <dgm:prSet/>
      <dgm:spPr/>
      <dgm:t>
        <a:bodyPr/>
        <a:lstStyle/>
        <a:p>
          <a:endParaRPr lang="ru-RU"/>
        </a:p>
      </dgm:t>
    </dgm:pt>
    <dgm:pt modelId="{14A14B4C-682D-436D-9615-FA2E76684260}" type="pres">
      <dgm:prSet presAssocID="{009A9E04-BE4C-4BDD-8206-18BE7687578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DE1D324-BDBB-41FE-B0E7-098CB43AB9F5}" type="pres">
      <dgm:prSet presAssocID="{A6DDDFCF-D004-4E46-B02E-AE1C258807D7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97DB9EA-5550-4EB7-80E2-D1BEFF306779}" type="pres">
      <dgm:prSet presAssocID="{2ADD3F96-5228-4FFF-9760-B029A30AB010}" presName="sibTrans" presStyleLbl="sibTrans2D1" presStyleIdx="0" presStyleCnt="2"/>
      <dgm:spPr/>
      <dgm:t>
        <a:bodyPr/>
        <a:lstStyle/>
        <a:p>
          <a:endParaRPr lang="ru-RU"/>
        </a:p>
      </dgm:t>
    </dgm:pt>
    <dgm:pt modelId="{BF69EAC9-CB38-44BB-B60D-FD9C7355F8FF}" type="pres">
      <dgm:prSet presAssocID="{2ADD3F96-5228-4FFF-9760-B029A30AB010}" presName="connectorText" presStyleLbl="sibTrans2D1" presStyleIdx="0" presStyleCnt="2"/>
      <dgm:spPr/>
      <dgm:t>
        <a:bodyPr/>
        <a:lstStyle/>
        <a:p>
          <a:endParaRPr lang="ru-RU"/>
        </a:p>
      </dgm:t>
    </dgm:pt>
    <dgm:pt modelId="{1D244CCB-E5DD-4E34-BE07-FD906F73F874}" type="pres">
      <dgm:prSet presAssocID="{E323BE23-911A-44F2-88B5-3E29EBDCE0DC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818AB8E-ED84-4A11-AD3F-DE829E3705CE}" type="pres">
      <dgm:prSet presAssocID="{C4B7223E-B4DC-4F77-A688-D27D3FCF8A6A}" presName="sibTrans" presStyleLbl="sibTrans2D1" presStyleIdx="1" presStyleCnt="2"/>
      <dgm:spPr/>
      <dgm:t>
        <a:bodyPr/>
        <a:lstStyle/>
        <a:p>
          <a:endParaRPr lang="ru-RU"/>
        </a:p>
      </dgm:t>
    </dgm:pt>
    <dgm:pt modelId="{F9CCBD09-77A3-4231-9C60-10785ADDCBBE}" type="pres">
      <dgm:prSet presAssocID="{C4B7223E-B4DC-4F77-A688-D27D3FCF8A6A}" presName="connectorText" presStyleLbl="sibTrans2D1" presStyleIdx="1" presStyleCnt="2"/>
      <dgm:spPr/>
      <dgm:t>
        <a:bodyPr/>
        <a:lstStyle/>
        <a:p>
          <a:endParaRPr lang="ru-RU"/>
        </a:p>
      </dgm:t>
    </dgm:pt>
    <dgm:pt modelId="{63550B7A-B3D5-4620-B09A-8AF980D2A5FC}" type="pres">
      <dgm:prSet presAssocID="{796123C2-631B-4621-8AE7-CA410B7CA9D4}" presName="node" presStyleLbl="node1" presStyleIdx="2" presStyleCnt="3" custScaleX="11384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E02CCF6-ECA2-4BC4-9BF9-5DEBEABAF082}" srcId="{A6DDDFCF-D004-4E46-B02E-AE1C258807D7}" destId="{341257E5-B00B-435F-9CBD-6DBE2E158D05}" srcOrd="0" destOrd="0" parTransId="{3D77F25F-BCE1-432C-ADB1-E1150DA8053A}" sibTransId="{FF439956-D196-43FD-BB7B-D92D7DAEBB6A}"/>
    <dgm:cxn modelId="{C9D4F910-3F4C-414B-AC58-9F28A63B187B}" type="presOf" srcId="{B707B0CB-DE70-43DA-9690-3401DF2F7F2C}" destId="{1D244CCB-E5DD-4E34-BE07-FD906F73F874}" srcOrd="0" destOrd="1" presId="urn:microsoft.com/office/officeart/2005/8/layout/process1"/>
    <dgm:cxn modelId="{BB208A12-AE75-4D4F-8DE6-C9A48286BD79}" type="presOf" srcId="{341257E5-B00B-435F-9CBD-6DBE2E158D05}" destId="{0DE1D324-BDBB-41FE-B0E7-098CB43AB9F5}" srcOrd="0" destOrd="1" presId="urn:microsoft.com/office/officeart/2005/8/layout/process1"/>
    <dgm:cxn modelId="{9B276BBC-1A78-4A34-A06D-DED8FF2E88F6}" type="presOf" srcId="{009A9E04-BE4C-4BDD-8206-18BE76875788}" destId="{14A14B4C-682D-436D-9615-FA2E76684260}" srcOrd="0" destOrd="0" presId="urn:microsoft.com/office/officeart/2005/8/layout/process1"/>
    <dgm:cxn modelId="{B49F6CDD-4F6A-48E5-83C6-78AB83B25F58}" type="presOf" srcId="{C4B7223E-B4DC-4F77-A688-D27D3FCF8A6A}" destId="{F9CCBD09-77A3-4231-9C60-10785ADDCBBE}" srcOrd="1" destOrd="0" presId="urn:microsoft.com/office/officeart/2005/8/layout/process1"/>
    <dgm:cxn modelId="{D2182C64-DDAF-4C48-9413-683944FABB80}" srcId="{009A9E04-BE4C-4BDD-8206-18BE76875788}" destId="{E323BE23-911A-44F2-88B5-3E29EBDCE0DC}" srcOrd="1" destOrd="0" parTransId="{288F648F-7BFD-45ED-80CA-849BE62EA90D}" sibTransId="{C4B7223E-B4DC-4F77-A688-D27D3FCF8A6A}"/>
    <dgm:cxn modelId="{D09C3586-2ED3-4E39-8FB4-6F46739FF7EB}" type="presOf" srcId="{2ADD3F96-5228-4FFF-9760-B029A30AB010}" destId="{997DB9EA-5550-4EB7-80E2-D1BEFF306779}" srcOrd="0" destOrd="0" presId="urn:microsoft.com/office/officeart/2005/8/layout/process1"/>
    <dgm:cxn modelId="{36807401-C6A2-48CB-8957-1374971A74BE}" type="presOf" srcId="{2ADD3F96-5228-4FFF-9760-B029A30AB010}" destId="{BF69EAC9-CB38-44BB-B60D-FD9C7355F8FF}" srcOrd="1" destOrd="0" presId="urn:microsoft.com/office/officeart/2005/8/layout/process1"/>
    <dgm:cxn modelId="{84B85DBC-2F63-4AE3-9C50-960011F7F3A7}" srcId="{009A9E04-BE4C-4BDD-8206-18BE76875788}" destId="{796123C2-631B-4621-8AE7-CA410B7CA9D4}" srcOrd="2" destOrd="0" parTransId="{CB407FEF-F627-4141-A3E7-85C81D81FDCB}" sibTransId="{E77CCA67-CA66-403D-B451-8EEAA059F123}"/>
    <dgm:cxn modelId="{441A71DE-F788-4D87-BDC1-B71D12A0FCE4}" srcId="{009A9E04-BE4C-4BDD-8206-18BE76875788}" destId="{A6DDDFCF-D004-4E46-B02E-AE1C258807D7}" srcOrd="0" destOrd="0" parTransId="{AC774A8A-9772-45AA-B1A7-0CE04C1F9727}" sibTransId="{2ADD3F96-5228-4FFF-9760-B029A30AB010}"/>
    <dgm:cxn modelId="{46E5721F-454D-4F3C-9384-8AA2E3771223}" type="presOf" srcId="{796123C2-631B-4621-8AE7-CA410B7CA9D4}" destId="{63550B7A-B3D5-4620-B09A-8AF980D2A5FC}" srcOrd="0" destOrd="0" presId="urn:microsoft.com/office/officeart/2005/8/layout/process1"/>
    <dgm:cxn modelId="{318E4427-E5BB-4E74-8CB3-BDFFA3DDC8C7}" type="presOf" srcId="{E323BE23-911A-44F2-88B5-3E29EBDCE0DC}" destId="{1D244CCB-E5DD-4E34-BE07-FD906F73F874}" srcOrd="0" destOrd="0" presId="urn:microsoft.com/office/officeart/2005/8/layout/process1"/>
    <dgm:cxn modelId="{F51D187B-C9A0-4657-85C2-A04C480B8374}" type="presOf" srcId="{C4B7223E-B4DC-4F77-A688-D27D3FCF8A6A}" destId="{6818AB8E-ED84-4A11-AD3F-DE829E3705CE}" srcOrd="0" destOrd="0" presId="urn:microsoft.com/office/officeart/2005/8/layout/process1"/>
    <dgm:cxn modelId="{6C5A5C7B-DCFE-4EB2-BB9F-16705531F3DA}" srcId="{E323BE23-911A-44F2-88B5-3E29EBDCE0DC}" destId="{B707B0CB-DE70-43DA-9690-3401DF2F7F2C}" srcOrd="0" destOrd="0" parTransId="{3AD95F43-1E2D-4281-B7F7-9C0ED8572ADD}" sibTransId="{017BCF43-40C9-418D-926A-706CB06BAA31}"/>
    <dgm:cxn modelId="{5A984CD9-3D10-451D-9B6E-0878CC06F45F}" type="presOf" srcId="{A6DDDFCF-D004-4E46-B02E-AE1C258807D7}" destId="{0DE1D324-BDBB-41FE-B0E7-098CB43AB9F5}" srcOrd="0" destOrd="0" presId="urn:microsoft.com/office/officeart/2005/8/layout/process1"/>
    <dgm:cxn modelId="{0568B77A-F3F2-447B-82EE-40921815C262}" type="presParOf" srcId="{14A14B4C-682D-436D-9615-FA2E76684260}" destId="{0DE1D324-BDBB-41FE-B0E7-098CB43AB9F5}" srcOrd="0" destOrd="0" presId="urn:microsoft.com/office/officeart/2005/8/layout/process1"/>
    <dgm:cxn modelId="{18487361-FC14-4809-889F-490CDC654E9C}" type="presParOf" srcId="{14A14B4C-682D-436D-9615-FA2E76684260}" destId="{997DB9EA-5550-4EB7-80E2-D1BEFF306779}" srcOrd="1" destOrd="0" presId="urn:microsoft.com/office/officeart/2005/8/layout/process1"/>
    <dgm:cxn modelId="{DE7F7870-C412-4111-9048-31BE13BF1C8E}" type="presParOf" srcId="{997DB9EA-5550-4EB7-80E2-D1BEFF306779}" destId="{BF69EAC9-CB38-44BB-B60D-FD9C7355F8FF}" srcOrd="0" destOrd="0" presId="urn:microsoft.com/office/officeart/2005/8/layout/process1"/>
    <dgm:cxn modelId="{5220279C-1DDF-4491-B03B-16A2D9F6DBA2}" type="presParOf" srcId="{14A14B4C-682D-436D-9615-FA2E76684260}" destId="{1D244CCB-E5DD-4E34-BE07-FD906F73F874}" srcOrd="2" destOrd="0" presId="urn:microsoft.com/office/officeart/2005/8/layout/process1"/>
    <dgm:cxn modelId="{E79D8739-D6C2-4C26-AEA1-908142EB5796}" type="presParOf" srcId="{14A14B4C-682D-436D-9615-FA2E76684260}" destId="{6818AB8E-ED84-4A11-AD3F-DE829E3705CE}" srcOrd="3" destOrd="0" presId="urn:microsoft.com/office/officeart/2005/8/layout/process1"/>
    <dgm:cxn modelId="{174C76D4-F42C-4EB4-B421-68E44B3F2F68}" type="presParOf" srcId="{6818AB8E-ED84-4A11-AD3F-DE829E3705CE}" destId="{F9CCBD09-77A3-4231-9C60-10785ADDCBBE}" srcOrd="0" destOrd="0" presId="urn:microsoft.com/office/officeart/2005/8/layout/process1"/>
    <dgm:cxn modelId="{9572E97F-A1BB-45A2-BEEE-3ADFD94D789E}" type="presParOf" srcId="{14A14B4C-682D-436D-9615-FA2E76684260}" destId="{63550B7A-B3D5-4620-B09A-8AF980D2A5FC}" srcOrd="4" destOrd="0" presId="urn:microsoft.com/office/officeart/2005/8/layout/process1"/>
  </dgm:cxnLst>
  <dgm:bg>
    <a:noFill/>
  </dgm:bg>
  <dgm:whole>
    <a:ln w="3175"/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6B3CC1-2000-4B30-8DD2-5EFEAA50BA6D}">
      <dsp:nvSpPr>
        <dsp:cNvPr id="0" name=""/>
        <dsp:cNvSpPr/>
      </dsp:nvSpPr>
      <dsp:spPr>
        <a:xfrm rot="5400000">
          <a:off x="3818375" y="-1664544"/>
          <a:ext cx="337722" cy="3752693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/>
            <a:t>«Самый результативный контролер»</a:t>
          </a:r>
          <a:endParaRPr lang="ru-RU" sz="1100" kern="1200" dirty="0"/>
        </a:p>
      </dsp:txBody>
      <dsp:txXfrm rot="-5400000">
        <a:off x="2110890" y="59427"/>
        <a:ext cx="3736207" cy="304750"/>
      </dsp:txXfrm>
    </dsp:sp>
    <dsp:sp modelId="{89914918-F974-4F28-9C07-939C278DF368}">
      <dsp:nvSpPr>
        <dsp:cNvPr id="0" name=""/>
        <dsp:cNvSpPr/>
      </dsp:nvSpPr>
      <dsp:spPr>
        <a:xfrm>
          <a:off x="22928" y="834"/>
          <a:ext cx="2110889" cy="42215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кол-во обоснованных жалоб</a:t>
          </a:r>
          <a:endParaRPr lang="ru-RU" sz="1100" kern="1200" dirty="0"/>
        </a:p>
      </dsp:txBody>
      <dsp:txXfrm>
        <a:off x="43536" y="21442"/>
        <a:ext cx="2069673" cy="380937"/>
      </dsp:txXfrm>
    </dsp:sp>
    <dsp:sp modelId="{AC5DC035-FE03-4DC2-9618-F939DE3ED5C2}">
      <dsp:nvSpPr>
        <dsp:cNvPr id="0" name=""/>
        <dsp:cNvSpPr/>
      </dsp:nvSpPr>
      <dsp:spPr>
        <a:xfrm rot="5400000">
          <a:off x="3818375" y="-1221283"/>
          <a:ext cx="337722" cy="3752693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/>
            <a:t>«Предотвращение нарушений: снижение рисков»</a:t>
          </a:r>
          <a:endParaRPr lang="ru-RU" sz="1100" kern="1200" dirty="0"/>
        </a:p>
      </dsp:txBody>
      <dsp:txXfrm rot="-5400000">
        <a:off x="2110890" y="502688"/>
        <a:ext cx="3736207" cy="304750"/>
      </dsp:txXfrm>
    </dsp:sp>
    <dsp:sp modelId="{4C4330F4-D165-4090-B1F5-11A9ABAC8E18}">
      <dsp:nvSpPr>
        <dsp:cNvPr id="0" name=""/>
        <dsp:cNvSpPr/>
      </dsp:nvSpPr>
      <dsp:spPr>
        <a:xfrm>
          <a:off x="0" y="443986"/>
          <a:ext cx="2110889" cy="42215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уникальность доводов</a:t>
          </a:r>
          <a:endParaRPr lang="ru-RU" sz="1100" kern="1200" dirty="0"/>
        </a:p>
      </dsp:txBody>
      <dsp:txXfrm>
        <a:off x="20608" y="464594"/>
        <a:ext cx="2069673" cy="380937"/>
      </dsp:txXfrm>
    </dsp:sp>
    <dsp:sp modelId="{38B32F8D-0D42-4550-B62B-F3764EAF6051}">
      <dsp:nvSpPr>
        <dsp:cNvPr id="0" name=""/>
        <dsp:cNvSpPr/>
      </dsp:nvSpPr>
      <dsp:spPr>
        <a:xfrm rot="5400000">
          <a:off x="3818375" y="-778022"/>
          <a:ext cx="337722" cy="3752693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/>
            <a:t>«</a:t>
          </a:r>
          <a:r>
            <a:rPr lang="ru-RU" sz="1100" kern="1200" dirty="0" smtClean="0"/>
            <a:t>Общественный контроль: максимальная экономия»</a:t>
          </a:r>
          <a:endParaRPr lang="ru-RU" sz="1000" kern="1200" dirty="0"/>
        </a:p>
      </dsp:txBody>
      <dsp:txXfrm rot="-5400000">
        <a:off x="2110890" y="945949"/>
        <a:ext cx="3736207" cy="304750"/>
      </dsp:txXfrm>
    </dsp:sp>
    <dsp:sp modelId="{A9FF61E8-8363-47EF-9D8B-4E5BCCAF021C}">
      <dsp:nvSpPr>
        <dsp:cNvPr id="0" name=""/>
        <dsp:cNvSpPr/>
      </dsp:nvSpPr>
      <dsp:spPr>
        <a:xfrm>
          <a:off x="0" y="887247"/>
          <a:ext cx="2110889" cy="42215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сумма экономии по результатам обжалования</a:t>
          </a:r>
          <a:endParaRPr lang="ru-RU" sz="1100" kern="1200" dirty="0"/>
        </a:p>
      </dsp:txBody>
      <dsp:txXfrm>
        <a:off x="20608" y="907855"/>
        <a:ext cx="2069673" cy="380937"/>
      </dsp:txXfrm>
    </dsp:sp>
    <dsp:sp modelId="{E354AFF8-FA3E-48E8-BEFB-AFDF21636BA2}">
      <dsp:nvSpPr>
        <dsp:cNvPr id="0" name=""/>
        <dsp:cNvSpPr/>
      </dsp:nvSpPr>
      <dsp:spPr>
        <a:xfrm rot="5400000">
          <a:off x="3818375" y="-334761"/>
          <a:ext cx="337722" cy="3752693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/>
            <a:t>«Общественный контролер – партнер в нормотворчестве атомной отрасли»</a:t>
          </a:r>
          <a:endParaRPr lang="ru-RU" sz="1100" kern="1200" dirty="0"/>
        </a:p>
      </dsp:txBody>
      <dsp:txXfrm rot="-5400000">
        <a:off x="2110890" y="1389210"/>
        <a:ext cx="3736207" cy="304750"/>
      </dsp:txXfrm>
    </dsp:sp>
    <dsp:sp modelId="{55AA6276-5411-4E9E-A576-CD39801468CA}">
      <dsp:nvSpPr>
        <dsp:cNvPr id="0" name=""/>
        <dsp:cNvSpPr/>
      </dsp:nvSpPr>
      <dsp:spPr>
        <a:xfrm>
          <a:off x="0" y="1330508"/>
          <a:ext cx="2110889" cy="42215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влияние доводов на локальные нормативные акты</a:t>
          </a:r>
          <a:endParaRPr lang="ru-RU" sz="1100" kern="1200" dirty="0"/>
        </a:p>
      </dsp:txBody>
      <dsp:txXfrm>
        <a:off x="20608" y="1351116"/>
        <a:ext cx="2069673" cy="380937"/>
      </dsp:txXfrm>
    </dsp:sp>
    <dsp:sp modelId="{0E16A256-45CE-4F32-897D-7FFC9D3362F4}">
      <dsp:nvSpPr>
        <dsp:cNvPr id="0" name=""/>
        <dsp:cNvSpPr/>
      </dsp:nvSpPr>
      <dsp:spPr>
        <a:xfrm rot="5400000">
          <a:off x="3818375" y="108499"/>
          <a:ext cx="337722" cy="3752693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/>
            <a:t>«Самый активный контролер» </a:t>
          </a:r>
          <a:endParaRPr lang="ru-RU" sz="1100" kern="1200" dirty="0"/>
        </a:p>
      </dsp:txBody>
      <dsp:txXfrm rot="-5400000">
        <a:off x="2110890" y="1832470"/>
        <a:ext cx="3736207" cy="304750"/>
      </dsp:txXfrm>
    </dsp:sp>
    <dsp:sp modelId="{33EC30F7-D215-4756-AF7E-35C0354D380C}">
      <dsp:nvSpPr>
        <dsp:cNvPr id="0" name=""/>
        <dsp:cNvSpPr/>
      </dsp:nvSpPr>
      <dsp:spPr>
        <a:xfrm>
          <a:off x="0" y="1773769"/>
          <a:ext cx="2110889" cy="42215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кол-во закупок с участием контролера</a:t>
          </a:r>
          <a:endParaRPr lang="ru-RU" sz="1100" kern="1200" dirty="0"/>
        </a:p>
      </dsp:txBody>
      <dsp:txXfrm>
        <a:off x="20608" y="1794377"/>
        <a:ext cx="2069673" cy="380937"/>
      </dsp:txXfrm>
    </dsp:sp>
    <dsp:sp modelId="{6E426F08-FD2D-4F03-98CE-482EADBD8541}">
      <dsp:nvSpPr>
        <dsp:cNvPr id="0" name=""/>
        <dsp:cNvSpPr/>
      </dsp:nvSpPr>
      <dsp:spPr>
        <a:xfrm>
          <a:off x="0" y="2217030"/>
          <a:ext cx="2110889" cy="42215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репутация контролера при исполнении договоров</a:t>
          </a:r>
          <a:endParaRPr lang="ru-RU" sz="1100" kern="1200" dirty="0"/>
        </a:p>
      </dsp:txBody>
      <dsp:txXfrm>
        <a:off x="20608" y="2237638"/>
        <a:ext cx="2069673" cy="3809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1</cdr:y>
    </cdr:from>
    <cdr:to>
      <cdr:x>1</cdr:x>
      <cdr:y>1</cdr:y>
    </cdr:to>
    <cdr:sp macro="" textlink="">
      <cdr:nvSpPr>
        <cdr:cNvPr id="2" name="Line 5"/>
        <cdr:cNvSpPr>
          <a:spLocks xmlns:a="http://schemas.openxmlformats.org/drawingml/2006/main" noChangeShapeType="1"/>
        </cdr:cNvSpPr>
      </cdr:nvSpPr>
      <cdr:spPr bwMode="auto">
        <a:xfrm xmlns:a="http://schemas.openxmlformats.org/drawingml/2006/main">
          <a:off x="0" y="1866231"/>
          <a:ext cx="3168353" cy="0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22225">
          <a:solidFill>
            <a:schemeClr val="bg1">
              <a:lumMod val="65000"/>
            </a:schemeClr>
          </a:solidFill>
          <a:round/>
          <a:headEnd/>
          <a:tailEnd/>
        </a:ln>
      </cdr:spPr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defPPr>
            <a:defRPr lang="de-DE"/>
          </a:defPPr>
          <a:lvl1pPr algn="l" rtl="0" fontAlgn="base">
            <a:spcBef>
              <a:spcPct val="0"/>
            </a:spcBef>
            <a:spcAft>
              <a:spcPct val="0"/>
            </a:spcAft>
            <a:defRPr sz="1300" b="1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1300" b="1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1300" b="1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1300" b="1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1300" b="1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sz="1300" b="1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sz="1300" b="1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sz="1300" b="1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sz="1300" b="1" kern="1200">
              <a:solidFill>
                <a:schemeClr val="tx1"/>
              </a:solidFill>
              <a:latin typeface="Arial" charset="0"/>
              <a:ea typeface="+mn-ea"/>
              <a:cs typeface="+mn-cs"/>
            </a:defRPr>
          </a:lvl9pPr>
        </a:lstStyle>
        <a:p xmlns:a="http://schemas.openxmlformats.org/drawingml/2006/main">
          <a:endParaRPr lang="ru-RU" sz="1600">
            <a:solidFill>
              <a:schemeClr val="tx1">
                <a:lumMod val="90000"/>
                <a:lumOff val="10000"/>
              </a:schemeClr>
            </a:solidFill>
            <a:latin typeface="+mn-lt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4283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8645" y="0"/>
            <a:ext cx="2944283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3107"/>
            <a:ext cx="2944283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8645" y="9433107"/>
            <a:ext cx="2944283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7CB70F0-A375-4C35-8CE1-6DAABC6C5E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16282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4283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645" y="0"/>
            <a:ext cx="2944283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2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6125"/>
            <a:ext cx="4962525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7416"/>
            <a:ext cx="5435600" cy="4469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3107"/>
            <a:ext cx="2944283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645" y="9433107"/>
            <a:ext cx="2944283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74ACFED-24F3-4453-B7DA-907CD982D1D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346465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5725" y="360363"/>
            <a:ext cx="6524625" cy="4894262"/>
          </a:xfrm>
          <a:ln/>
        </p:spPr>
      </p:sp>
      <p:sp>
        <p:nvSpPr>
          <p:cNvPr id="167939" name="Заметки 2"/>
          <p:cNvSpPr>
            <a:spLocks noGrp="1"/>
          </p:cNvSpPr>
          <p:nvPr>
            <p:ph type="body" idx="1"/>
          </p:nvPr>
        </p:nvSpPr>
        <p:spPr>
          <a:xfrm>
            <a:off x="679133" y="5541445"/>
            <a:ext cx="5436235" cy="364505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BA38704-05FE-442A-926C-7E1C25943443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905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F78A04-16BB-4A3D-83BC-B5B60D02F3E6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3125" y="733425"/>
            <a:ext cx="4999038" cy="3749675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8825" y="4729242"/>
            <a:ext cx="4965211" cy="4481223"/>
          </a:xfrm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581495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233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smtClean="0"/>
              <a:t>При оценке заявки  ФНПЦ «ПО «Старт» им. М.В. Проценко» по критерию «опыт» </a:t>
            </a:r>
            <a:r>
              <a:rPr lang="ru-RU" altLang="ru-RU" b="1" smtClean="0"/>
              <a:t>закупочной комиссией были учтены исполненные данным участником договоры поставки оборудования, не подтверждающие опыт, наличие которого подлежит учету в соответствии с установленным в закупочной документации порядком оценки заявок</a:t>
            </a:r>
            <a:r>
              <a:rPr lang="ru-RU" altLang="ru-RU" smtClean="0"/>
              <a:t>. При этом документов, подтверждающих необходимый опыт, в заявке данного участника не представлено.</a:t>
            </a:r>
          </a:p>
          <a:p>
            <a:endParaRPr lang="ru-RU" altLang="ru-RU" b="1" smtClean="0"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FDBA579-D9FF-4D07-83F7-D81B0F9CF124}" type="slidenum">
              <a:rPr lang="ru-RU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6596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22350" y="433388"/>
            <a:ext cx="5562600" cy="4173537"/>
          </a:xfrm>
          <a:ln/>
        </p:spPr>
      </p:sp>
      <p:sp>
        <p:nvSpPr>
          <p:cNvPr id="162819" name="Заметки 2"/>
          <p:cNvSpPr>
            <a:spLocks noGrp="1"/>
          </p:cNvSpPr>
          <p:nvPr>
            <p:ph type="body" idx="1"/>
          </p:nvPr>
        </p:nvSpPr>
        <p:spPr>
          <a:xfrm>
            <a:off x="450114" y="4749179"/>
            <a:ext cx="5967179" cy="456834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r>
              <a:rPr lang="ru-RU" altLang="ru-RU" sz="1100" b="1">
                <a:cs typeface="Arial" charset="0"/>
              </a:rPr>
              <a:t>Примеры: </a:t>
            </a:r>
            <a:r>
              <a:rPr lang="ru-RU" altLang="ru-RU" sz="1100">
                <a:cs typeface="Arial" charset="0"/>
              </a:rPr>
              <a:t>НИАЭП, как лидер в организации управления.</a:t>
            </a:r>
          </a:p>
          <a:p>
            <a:pPr algn="just"/>
            <a:r>
              <a:rPr lang="ru-RU" altLang="ru-RU" sz="1100" b="1">
                <a:cs typeface="Arial" charset="0"/>
              </a:rPr>
              <a:t>1. </a:t>
            </a:r>
            <a:r>
              <a:rPr lang="ru-RU" altLang="ru-RU" sz="1100" b="1">
                <a:solidFill>
                  <a:srgbClr val="414142"/>
                </a:solidFill>
              </a:rPr>
              <a:t>Необоснованный </a:t>
            </a:r>
            <a:r>
              <a:rPr lang="ru-RU" altLang="ru-RU" sz="1100" b="1" u="sng">
                <a:solidFill>
                  <a:srgbClr val="414142"/>
                </a:solidFill>
              </a:rPr>
              <a:t>отказ</a:t>
            </a:r>
            <a:r>
              <a:rPr lang="ru-RU" altLang="ru-RU" sz="1100" b="1">
                <a:solidFill>
                  <a:srgbClr val="414142"/>
                </a:solidFill>
              </a:rPr>
              <a:t> в допуске</a:t>
            </a:r>
            <a:endParaRPr lang="ru-RU" altLang="ru-RU" sz="1100" b="1">
              <a:cs typeface="Arial" charset="0"/>
            </a:endParaRPr>
          </a:p>
          <a:p>
            <a:pPr algn="just"/>
            <a:r>
              <a:rPr lang="ru-RU" altLang="ru-RU" sz="1100">
                <a:cs typeface="Arial" charset="0"/>
              </a:rPr>
              <a:t>НИАЭП </a:t>
            </a:r>
            <a:r>
              <a:rPr lang="ru-RU" altLang="ru-RU" sz="1100" u="sng">
                <a:cs typeface="Arial" charset="0"/>
              </a:rPr>
              <a:t>поставка в </a:t>
            </a:r>
            <a:r>
              <a:rPr lang="ru-RU" altLang="ru-RU" sz="1100" u="sng"/>
              <a:t>подсистемы контроля зоны патрубков реактора</a:t>
            </a:r>
            <a:r>
              <a:rPr lang="ru-RU" altLang="ru-RU" sz="1100"/>
              <a:t> </a:t>
            </a:r>
            <a:r>
              <a:rPr lang="ru-RU" altLang="ru-RU" sz="1100">
                <a:cs typeface="Arial" charset="0"/>
              </a:rPr>
              <a:t>для Ростовской АЭС на </a:t>
            </a:r>
            <a:r>
              <a:rPr lang="ru-RU" altLang="ru-RU" sz="1100" u="sng">
                <a:cs typeface="Arial" charset="0"/>
              </a:rPr>
              <a:t>70,0 млн. руб.</a:t>
            </a:r>
            <a:r>
              <a:rPr lang="ru-RU" altLang="ru-RU" sz="1100">
                <a:cs typeface="Arial" charset="0"/>
              </a:rPr>
              <a:t>:</a:t>
            </a:r>
          </a:p>
          <a:p>
            <a:pPr algn="just"/>
            <a:r>
              <a:rPr lang="ru-RU" altLang="ru-RU" sz="1100">
                <a:cs typeface="Arial" charset="0"/>
              </a:rPr>
              <a:t>Закупочная комиссия отклонила заявку ООО «ЗТЦКД-Атомкомплект» и приняла решение заключить </a:t>
            </a:r>
            <a:r>
              <a:rPr lang="ru-RU" altLang="ru-RU" sz="1100" u="sng">
                <a:cs typeface="Arial" charset="0"/>
              </a:rPr>
              <a:t>договор с единственным участником со стоимостью 69,7 млн. руб.</a:t>
            </a:r>
            <a:r>
              <a:rPr lang="ru-RU" altLang="ru-RU" sz="1100">
                <a:cs typeface="Arial" charset="0"/>
              </a:rPr>
              <a:t> При рассмотрении жалобы ЦАКом установлено, что</a:t>
            </a:r>
            <a:r>
              <a:rPr lang="ru-RU" altLang="ru-RU" sz="1100"/>
              <a:t> </a:t>
            </a:r>
            <a:r>
              <a:rPr lang="ru-RU" altLang="ru-RU" sz="1100" u="sng"/>
              <a:t>причина отклонения</a:t>
            </a:r>
            <a:r>
              <a:rPr lang="ru-RU" altLang="ru-RU" sz="1100"/>
              <a:t> участника (</a:t>
            </a:r>
            <a:r>
              <a:rPr lang="ru-RU" altLang="ru-RU" sz="1100" u="sng"/>
              <a:t>несоответствие предлагаемой продукции и состава ее заявки</a:t>
            </a:r>
            <a:r>
              <a:rPr lang="ru-RU" altLang="ru-RU" sz="1100"/>
              <a:t>) является результатом </a:t>
            </a:r>
            <a:r>
              <a:rPr lang="ru-RU" altLang="ru-RU" sz="1100" u="sng"/>
              <a:t>ненадлежащего изучения документов</a:t>
            </a:r>
            <a:r>
              <a:rPr lang="ru-RU" altLang="ru-RU" sz="1100"/>
              <a:t>, представленных участником закупки (во внимание принималось только </a:t>
            </a:r>
            <a:r>
              <a:rPr lang="ru-RU" altLang="ru-RU" sz="1100" u="sng"/>
              <a:t>тех.предложение</a:t>
            </a:r>
            <a:r>
              <a:rPr lang="ru-RU" altLang="ru-RU" sz="1100"/>
              <a:t>, без учета иных документов, содержащих информацию о продукции). Кроме того, комиссия не использовала возможность направления участнику уточняющих запросов. </a:t>
            </a:r>
            <a:r>
              <a:rPr lang="ru-RU" altLang="ru-RU" sz="1100" u="sng"/>
              <a:t>По результатам рассмотрения жалобы 2-й участник допущен</a:t>
            </a:r>
            <a:r>
              <a:rPr lang="ru-RU" altLang="ru-RU" sz="1100"/>
              <a:t>. </a:t>
            </a:r>
            <a:r>
              <a:rPr lang="ru-RU" altLang="ru-RU" sz="1100" u="sng"/>
              <a:t>При пр</a:t>
            </a:r>
            <a:r>
              <a:rPr lang="ru-RU" altLang="ru-RU" sz="1100" u="sng">
                <a:cs typeface="Arial" charset="0"/>
              </a:rPr>
              <a:t>оведения переторжки НИКИМТа снизил стоимость  в 1,9 раза (на 33,3 млн. руб.)</a:t>
            </a:r>
          </a:p>
          <a:p>
            <a:pPr algn="just"/>
            <a:endParaRPr lang="ru-RU" altLang="ru-RU" sz="1100">
              <a:cs typeface="Arial" charset="0"/>
            </a:endParaRPr>
          </a:p>
          <a:p>
            <a:pPr algn="just"/>
            <a:r>
              <a:rPr lang="ru-RU" altLang="ru-RU" sz="1100" b="1">
                <a:cs typeface="Arial" charset="0"/>
              </a:rPr>
              <a:t>2. </a:t>
            </a:r>
            <a:r>
              <a:rPr lang="ru-RU" altLang="ru-RU" sz="1100" b="1">
                <a:solidFill>
                  <a:srgbClr val="414142"/>
                </a:solidFill>
              </a:rPr>
              <a:t>Нарушение оформления протоколов</a:t>
            </a:r>
            <a:endParaRPr lang="ru-RU" altLang="ru-RU" sz="1100">
              <a:cs typeface="Arial" charset="0"/>
            </a:endParaRPr>
          </a:p>
          <a:p>
            <a:pPr algn="just"/>
            <a:r>
              <a:rPr lang="ru-RU" altLang="ru-RU" sz="1100"/>
              <a:t>при проведении закупки на поставку затворов дисковых для ФГУП «ПО «Маяк» с НМЦ </a:t>
            </a:r>
            <a:r>
              <a:rPr lang="ru-RU" altLang="ru-RU" sz="1100" u="sng"/>
              <a:t>48,5 млн. руб.</a:t>
            </a:r>
            <a:r>
              <a:rPr lang="ru-RU" altLang="ru-RU" sz="1100"/>
              <a:t> после решения ЦАК понадобилось </a:t>
            </a:r>
            <a:r>
              <a:rPr lang="ru-RU" altLang="ru-RU" sz="1100" u="sng"/>
              <a:t>28 рабочих дня оформления и публикации корректного протокола</a:t>
            </a:r>
            <a:r>
              <a:rPr lang="ru-RU" altLang="ru-RU" sz="1100"/>
              <a:t>), а выявленное нарушение связано только с недостатками в оформлении протокола: неправомерное указание в качестве одного из оснований для отклонения заявки участника  несоответствие предлагаемой продукции требованиям документации при отсутствии оснований для такого вывода и предусмотренной возможностью поставки эквивалентной продукции. При этом имелись </a:t>
            </a:r>
            <a:r>
              <a:rPr lang="ru-RU" altLang="ru-RU" sz="1100" u="sng"/>
              <a:t>другие  основания</a:t>
            </a:r>
            <a:r>
              <a:rPr lang="ru-RU" altLang="ru-RU" sz="1100"/>
              <a:t> для отклонения, соответствующие Стандарту.</a:t>
            </a:r>
            <a:endParaRPr lang="ru-RU" altLang="ru-RU" sz="1100"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56328EA-1A57-405B-B1C1-652929DBBBDA}" type="slidenum">
              <a:rPr lang="ru-RU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2413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F78A04-16BB-4A3D-83BC-B5B60D02F3E6}" type="slidenum">
              <a:rPr lang="en-US" smtClean="0">
                <a:solidFill>
                  <a:srgbClr val="000000"/>
                </a:solidFill>
              </a:rPr>
              <a:pPr/>
              <a:t>10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3125" y="733425"/>
            <a:ext cx="4999038" cy="3749675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8825" y="4729242"/>
            <a:ext cx="4965211" cy="4481223"/>
          </a:xfrm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1702209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F78A04-16BB-4A3D-83BC-B5B60D02F3E6}" type="slidenum">
              <a:rPr lang="en-US" smtClean="0">
                <a:solidFill>
                  <a:srgbClr val="000000"/>
                </a:solidFill>
              </a:rPr>
              <a:pPr/>
              <a:t>12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3125" y="733425"/>
            <a:ext cx="4999038" cy="3749675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8825" y="4729242"/>
            <a:ext cx="4965211" cy="4481223"/>
          </a:xfrm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354213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2.xml"/><Relationship Id="rId3" Type="http://schemas.openxmlformats.org/officeDocument/2006/relationships/image" Target="../media/image5.png"/><Relationship Id="rId7" Type="http://schemas.openxmlformats.org/officeDocument/2006/relationships/slide" Target="../slides/slide14.xm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6" Type="http://schemas.openxmlformats.org/officeDocument/2006/relationships/slide" Target="../slides/slide6.xml"/><Relationship Id="rId5" Type="http://schemas.openxmlformats.org/officeDocument/2006/relationships/slide" Target="../slides/slide4.xml"/><Relationship Id="rId4" Type="http://schemas.openxmlformats.org/officeDocument/2006/relationships/hyperlink" Target="http://www.rosatom.ru/" TargetMode="Externa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8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0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0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hyperlink" Target="http://www.rosatom.ru/" TargetMode="External"/><Relationship Id="rId7" Type="http://schemas.openxmlformats.org/officeDocument/2006/relationships/slide" Target="../slides/slide12.xml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Relationship Id="rId6" Type="http://schemas.openxmlformats.org/officeDocument/2006/relationships/slide" Target="../slides/slide14.xml"/><Relationship Id="rId5" Type="http://schemas.openxmlformats.org/officeDocument/2006/relationships/slide" Target="../slides/slide6.xml"/><Relationship Id="rId4" Type="http://schemas.openxmlformats.org/officeDocument/2006/relationships/slide" Target="../slides/slide4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32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32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slideMaster" Target="../slideMasters/slideMaster32.xml"/><Relationship Id="rId4" Type="http://schemas.openxmlformats.org/officeDocument/2006/relationships/tags" Target="../tags/tag21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slideMaster" Target="../slideMasters/slideMaster3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32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2.xml"/><Relationship Id="rId1" Type="http://schemas.openxmlformats.org/officeDocument/2006/relationships/tags" Target="../tags/tag36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2.xml"/><Relationship Id="rId3" Type="http://schemas.openxmlformats.org/officeDocument/2006/relationships/image" Target="../media/image5.png"/><Relationship Id="rId7" Type="http://schemas.openxmlformats.org/officeDocument/2006/relationships/slide" Target="../slides/slide14.xml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Relationship Id="rId6" Type="http://schemas.openxmlformats.org/officeDocument/2006/relationships/slide" Target="../slides/slide6.xml"/><Relationship Id="rId5" Type="http://schemas.openxmlformats.org/officeDocument/2006/relationships/slide" Target="../slides/slide4.xml"/><Relationship Id="rId4" Type="http://schemas.openxmlformats.org/officeDocument/2006/relationships/hyperlink" Target="http://www.rosatom.ru/" TargetMode="Externa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2.xml"/><Relationship Id="rId3" Type="http://schemas.openxmlformats.org/officeDocument/2006/relationships/image" Target="../media/image5.png"/><Relationship Id="rId7" Type="http://schemas.openxmlformats.org/officeDocument/2006/relationships/slide" Target="../slides/slide14.xml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Relationship Id="rId6" Type="http://schemas.openxmlformats.org/officeDocument/2006/relationships/slide" Target="../slides/slide6.xml"/><Relationship Id="rId5" Type="http://schemas.openxmlformats.org/officeDocument/2006/relationships/slide" Target="../slides/slide4.xml"/><Relationship Id="rId4" Type="http://schemas.openxmlformats.org/officeDocument/2006/relationships/hyperlink" Target="http://www.rosatom.ru/" TargetMode="Externa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2.xml"/><Relationship Id="rId3" Type="http://schemas.openxmlformats.org/officeDocument/2006/relationships/image" Target="../media/image5.png"/><Relationship Id="rId7" Type="http://schemas.openxmlformats.org/officeDocument/2006/relationships/slide" Target="../slides/slide14.xml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Relationship Id="rId6" Type="http://schemas.openxmlformats.org/officeDocument/2006/relationships/slide" Target="../slides/slide6.xml"/><Relationship Id="rId5" Type="http://schemas.openxmlformats.org/officeDocument/2006/relationships/slide" Target="../slides/slide4.xml"/><Relationship Id="rId4" Type="http://schemas.openxmlformats.org/officeDocument/2006/relationships/hyperlink" Target="http://www.rosatom.ru/" TargetMode="Externa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2.xml"/><Relationship Id="rId3" Type="http://schemas.openxmlformats.org/officeDocument/2006/relationships/image" Target="../media/image5.png"/><Relationship Id="rId7" Type="http://schemas.openxmlformats.org/officeDocument/2006/relationships/slide" Target="../slides/slide14.xml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8.xml"/><Relationship Id="rId6" Type="http://schemas.openxmlformats.org/officeDocument/2006/relationships/slide" Target="../slides/slide6.xml"/><Relationship Id="rId5" Type="http://schemas.openxmlformats.org/officeDocument/2006/relationships/slide" Target="../slides/slide4.xml"/><Relationship Id="rId4" Type="http://schemas.openxmlformats.org/officeDocument/2006/relationships/hyperlink" Target="http://www.rosatom.ru/" TargetMode="Externa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25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2702589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2858C9-6D9E-47E1-9CC0-0065F94738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6274390"/>
      </p:ext>
    </p:extLst>
  </p:cSld>
  <p:clrMapOvr>
    <a:masterClrMapping/>
  </p:clrMapOvr>
  <p:transition>
    <p:wipe dir="r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8B7989-08D9-4A50-9066-4A0364B6909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507541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50545D-CEAF-4E58-B23A-4FCCA3FC0D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5794766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678614-0EEE-4DAC-8198-6DD67ACD3B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8769291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52151198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A4355A-B8D1-4927-8987-2E4DDFB5B83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068191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14C6DE-6F96-4524-82EA-EAE44D22CF3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845957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5A2967-8523-4332-B2FD-B8452B5DA09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096987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60CA79-938D-4FE4-BC0E-B9F216137FC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173687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C4A53D-603F-4366-9CAB-36E55BB57C7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137027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0B2863-D3E7-4FE5-BE8D-39DF3807736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554958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281A6E-9DB2-43EC-B397-80AF144BF28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9239334"/>
      </p:ext>
    </p:extLst>
  </p:cSld>
  <p:clrMapOvr>
    <a:masterClrMapping/>
  </p:clrMapOvr>
  <p:transition>
    <p:wipe dir="r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E4055F-7ECC-4528-869D-9F67784C49C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762621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E018AF-0643-4EF7-9E26-FFAA2E03180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331239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7C5909-F745-41E5-809F-23D9921D61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053720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98C297-585B-4DCC-8E24-25871B8ED6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508515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36106568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A4355A-B8D1-4927-8987-2E4DDFB5B83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119701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14C6DE-6F96-4524-82EA-EAE44D22CF3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773271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5A2967-8523-4332-B2FD-B8452B5DA09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999079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60CA79-938D-4FE4-BC0E-B9F216137FC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971857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C4A53D-603F-4366-9CAB-36E55BB57C7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61738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25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644900"/>
            <a:ext cx="6688137" cy="1008063"/>
          </a:xfrm>
        </p:spPr>
        <p:txBody>
          <a:bodyPr anchor="ctr"/>
          <a:lstStyle>
            <a:lvl1pPr marL="0" indent="0">
              <a:buFontTx/>
              <a:buNone/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43823163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0B2863-D3E7-4FE5-BE8D-39DF3807736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551516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E4055F-7ECC-4528-869D-9F67784C49C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83002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E018AF-0643-4EF7-9E26-FFAA2E03180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703968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7C5909-F745-41E5-809F-23D9921D61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004254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98C297-585B-4DCC-8E24-25871B8ED6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0801788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78586709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AD52-245B-4C04-AC41-E50D54AB5A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02268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E58F1F-83B5-42B0-B812-E6270318023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6359961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E3EC7-AD4A-4208-9707-EFDD0556AE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701563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C2310-2BBB-49DE-8484-566D8D42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88173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003DCD-B7CC-4117-950C-DF0AE111754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3570348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F2F91-E6DE-4D05-9378-565894577D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070274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8D016-9DA0-4856-8E89-FF1336BC07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75910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2B343-C89F-4EB9-9450-2A37215D9F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043231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D7C5D-3C1D-4D5E-9939-46CDFD7B79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811191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39E7A-5A47-4910-80C5-7DBA2DE4CA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670420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21354-FBCA-4256-9487-E388D11BC1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735210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ABEBFB-9326-4E77-92E5-9555439F1D6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022551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273031301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AD52-245B-4C04-AC41-E50D54AB5A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740229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E58F1F-83B5-42B0-B812-E6270318023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54096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CEEAD5-A614-461D-9949-B24C104F1E2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561654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E3EC7-AD4A-4208-9707-EFDD0556AE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458820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C2310-2BBB-49DE-8484-566D8D42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167896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F2F91-E6DE-4D05-9378-565894577D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664004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8D016-9DA0-4856-8E89-FF1336BC07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362497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2B343-C89F-4EB9-9450-2A37215D9F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924241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D7C5D-3C1D-4D5E-9939-46CDFD7B79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494302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39E7A-5A47-4910-80C5-7DBA2DE4CA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558441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21354-FBCA-4256-9487-E388D11BC1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30119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ABEBFB-9326-4E77-92E5-9555439F1D6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573622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6813018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313AED-6D6C-4D30-A140-0026E83D84E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5425317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AD52-245B-4C04-AC41-E50D54AB5A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408029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E58F1F-83B5-42B0-B812-E6270318023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36570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E3EC7-AD4A-4208-9707-EFDD0556AE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359762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C2310-2BBB-49DE-8484-566D8D42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402018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F2F91-E6DE-4D05-9378-565894577D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112272"/>
      </p:ext>
    </p:extLst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8D016-9DA0-4856-8E89-FF1336BC07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579149"/>
      </p:ext>
    </p:extLst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2B343-C89F-4EB9-9450-2A37215D9F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777557"/>
      </p:ext>
    </p:extLst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D7C5D-3C1D-4D5E-9939-46CDFD7B79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014342"/>
      </p:ext>
    </p:extLst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39E7A-5A47-4910-80C5-7DBA2DE4CA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68050"/>
      </p:ext>
    </p:extLst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21354-FBCA-4256-9487-E388D11BC1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541851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5C2E7A-4AD5-4382-943F-CCD008493C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3269072"/>
      </p:ext>
    </p:extLst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ABEBFB-9326-4E77-92E5-9555439F1D6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40295"/>
      </p:ext>
    </p:extLst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09736779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AD52-245B-4C04-AC41-E50D54AB5A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371521"/>
      </p:ext>
    </p:extLst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E58F1F-83B5-42B0-B812-E6270318023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831838"/>
      </p:ext>
    </p:extLst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E3EC7-AD4A-4208-9707-EFDD0556AE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514688"/>
      </p:ext>
    </p:extLst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C2310-2BBB-49DE-8484-566D8D42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183508"/>
      </p:ext>
    </p:extLst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F2F91-E6DE-4D05-9378-565894577D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108561"/>
      </p:ext>
    </p:extLst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8D016-9DA0-4856-8E89-FF1336BC07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628090"/>
      </p:ext>
    </p:extLst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2B343-C89F-4EB9-9450-2A37215D9F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344109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D7C5D-3C1D-4D5E-9939-46CDFD7B79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30573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094B7-02AA-4894-BF61-3EF93BC30C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7045144"/>
      </p:ext>
    </p:extLst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39E7A-5A47-4910-80C5-7DBA2DE4CA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427405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21354-FBCA-4256-9487-E388D11BC1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956537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ABEBFB-9326-4E77-92E5-9555439F1D6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226799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49346185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248F36-C73F-47B7-9572-929B7B05F4E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980895"/>
      </p:ext>
    </p:extLst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47ED46-F234-41EC-B47B-AE6029A0322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194228"/>
      </p:ext>
    </p:extLst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89148B-913E-4F17-B1CC-03E768C8EF6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704690"/>
      </p:ext>
    </p:extLst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B35BE8-1C11-4307-8A6B-41487CDA7B3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712807"/>
      </p:ext>
    </p:extLst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1C5386-7ABE-471A-944A-1E9A7714BDC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818160"/>
      </p:ext>
    </p:extLst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0DEAB3-95CC-404B-9A32-3011A1408E5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314739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834958-8C6D-4DB1-95C9-4544C5BF4B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2196738"/>
      </p:ext>
    </p:extLst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D76B75-6AA9-4CBA-BBD9-46C400A2F97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308034"/>
      </p:ext>
    </p:extLst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D00171-ED0F-4778-B5C1-FDDB3FE1623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783388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56799C-A52E-40C1-87A5-DA5463B62C6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605326"/>
      </p:ext>
    </p:extLst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9D6034-DE4C-4352-9A69-CB45C007EFF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206158"/>
      </p:ext>
    </p:extLst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2AF53D-CD1C-43E0-A077-77AD8F4ACAD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979128"/>
      </p:ext>
    </p:extLst>
  </p:cSld>
  <p:clrMapOvr>
    <a:masterClrMapping/>
  </p:clrMapOvr>
  <p:transition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25835990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AD52-245B-4C04-AC41-E50D54AB5A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049841"/>
      </p:ext>
    </p:extLst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E58F1F-83B5-42B0-B812-E6270318023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616227"/>
      </p:ext>
    </p:extLst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E3EC7-AD4A-4208-9707-EFDD0556AE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86383"/>
      </p:ext>
    </p:extLst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C2310-2BBB-49DE-8484-566D8D42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59470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5C4849-4F01-434B-8EAC-6392441BA3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2759477"/>
      </p:ext>
    </p:extLst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F2F91-E6DE-4D05-9378-565894577D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503554"/>
      </p:ext>
    </p:extLst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8D016-9DA0-4856-8E89-FF1336BC07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704455"/>
      </p:ext>
    </p:extLst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2B343-C89F-4EB9-9450-2A37215D9F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980377"/>
      </p:ext>
    </p:extLst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D7C5D-3C1D-4D5E-9939-46CDFD7B79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050792"/>
      </p:ext>
    </p:extLst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39E7A-5A47-4910-80C5-7DBA2DE4CA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706474"/>
      </p:ext>
    </p:extLst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21354-FBCA-4256-9487-E388D11BC1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475689"/>
      </p:ext>
    </p:extLst>
  </p:cSld>
  <p:clrMapOvr>
    <a:masterClrMapping/>
  </p:clrMapOvr>
  <p:transition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ABEBFB-9326-4E77-92E5-9555439F1D6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271721"/>
      </p:ext>
    </p:extLst>
  </p:cSld>
  <p:clrMapOvr>
    <a:masterClrMapping/>
  </p:clrMapOvr>
  <p:transition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3473193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AD52-245B-4C04-AC41-E50D54AB5A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334269"/>
      </p:ext>
    </p:extLst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E58F1F-83B5-42B0-B812-E6270318023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05621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34807E-0F17-470E-A2F5-21003ABB57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8966947"/>
      </p:ext>
    </p:extLst>
  </p:cSld>
  <p:clrMapOvr>
    <a:masterClrMapping/>
  </p:clrMapOvr>
  <p:transition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113BF6-133A-448C-BB9B-80C5B09FED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5875799"/>
      </p:ext>
    </p:extLst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E3EC7-AD4A-4208-9707-EFDD0556AE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508077"/>
      </p:ext>
    </p:extLst>
  </p:cSld>
  <p:clrMapOvr>
    <a:masterClrMapping/>
  </p:clrMapOvr>
  <p:transition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C2310-2BBB-49DE-8484-566D8D42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488928"/>
      </p:ext>
    </p:extLst>
  </p:cSld>
  <p:clrMapOvr>
    <a:masterClrMapping/>
  </p:clrMapOvr>
  <p:transition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F2F91-E6DE-4D05-9378-565894577D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830008"/>
      </p:ext>
    </p:extLst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8D016-9DA0-4856-8E89-FF1336BC07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751969"/>
      </p:ext>
    </p:extLst>
  </p:cSld>
  <p:clrMapOvr>
    <a:masterClrMapping/>
  </p:clrMapOvr>
  <p:transition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2B343-C89F-4EB9-9450-2A37215D9F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778996"/>
      </p:ext>
    </p:extLst>
  </p:cSld>
  <p:clrMapOvr>
    <a:masterClrMapping/>
  </p:clrMapOvr>
  <p:transition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D7C5D-3C1D-4D5E-9939-46CDFD7B79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26354"/>
      </p:ext>
    </p:extLst>
  </p:cSld>
  <p:clrMapOvr>
    <a:masterClrMapping/>
  </p:clrMapOvr>
  <p:transition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39E7A-5A47-4910-80C5-7DBA2DE4CA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968572"/>
      </p:ext>
    </p:extLst>
  </p:cSld>
  <p:clrMapOvr>
    <a:masterClrMapping/>
  </p:clrMapOvr>
  <p:transition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21354-FBCA-4256-9487-E388D11BC1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482804"/>
      </p:ext>
    </p:extLst>
  </p:cSld>
  <p:clrMapOvr>
    <a:masterClrMapping/>
  </p:clrMapOvr>
  <p:transition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ABEBFB-9326-4E77-92E5-9555439F1D6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174471"/>
      </p:ext>
    </p:extLst>
  </p:cSld>
  <p:clrMapOvr>
    <a:masterClrMapping/>
  </p:clrMapOvr>
  <p:transition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7964481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2E4D0B-F38A-483B-A883-8FEDF29636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418234"/>
      </p:ext>
    </p:extLst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AD52-245B-4C04-AC41-E50D54AB5A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91312"/>
      </p:ext>
    </p:extLst>
  </p:cSld>
  <p:clrMapOvr>
    <a:masterClrMapping/>
  </p:clrMapOvr>
  <p:transition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E58F1F-83B5-42B0-B812-E6270318023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357679"/>
      </p:ext>
    </p:extLst>
  </p:cSld>
  <p:clrMapOvr>
    <a:masterClrMapping/>
  </p:clrMapOvr>
  <p:transition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E3EC7-AD4A-4208-9707-EFDD0556AE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272678"/>
      </p:ext>
    </p:extLst>
  </p:cSld>
  <p:clrMapOvr>
    <a:masterClrMapping/>
  </p:clrMapOvr>
  <p:transition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C2310-2BBB-49DE-8484-566D8D42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098754"/>
      </p:ext>
    </p:extLst>
  </p:cSld>
  <p:clrMapOvr>
    <a:masterClrMapping/>
  </p:clrMapOvr>
  <p:transition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F2F91-E6DE-4D05-9378-565894577D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1120092"/>
      </p:ext>
    </p:extLst>
  </p:cSld>
  <p:clrMapOvr>
    <a:masterClrMapping/>
  </p:clrMapOvr>
  <p:transition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8D016-9DA0-4856-8E89-FF1336BC07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666422"/>
      </p:ext>
    </p:extLst>
  </p:cSld>
  <p:clrMapOvr>
    <a:masterClrMapping/>
  </p:clrMapOvr>
  <p:transition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2B343-C89F-4EB9-9450-2A37215D9F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472254"/>
      </p:ext>
    </p:extLst>
  </p:cSld>
  <p:clrMapOvr>
    <a:masterClrMapping/>
  </p:clrMapOvr>
  <p:transition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D7C5D-3C1D-4D5E-9939-46CDFD7B79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194054"/>
      </p:ext>
    </p:extLst>
  </p:cSld>
  <p:clrMapOvr>
    <a:masterClrMapping/>
  </p:clrMapOvr>
  <p:transition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39E7A-5A47-4910-80C5-7DBA2DE4CA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779287"/>
      </p:ext>
    </p:extLst>
  </p:cSld>
  <p:clrMapOvr>
    <a:masterClrMapping/>
  </p:clrMapOvr>
  <p:transition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21354-FBCA-4256-9487-E388D11BC1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73378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E0DEFF-55A1-48EB-B39E-050C6A25825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8627424"/>
      </p:ext>
    </p:extLst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ABEBFB-9326-4E77-92E5-9555439F1D6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686266"/>
      </p:ext>
    </p:extLst>
  </p:cSld>
  <p:clrMapOvr>
    <a:masterClrMapping/>
  </p:clrMapOvr>
  <p:transition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61043722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AD52-245B-4C04-AC41-E50D54AB5A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409282"/>
      </p:ext>
    </p:extLst>
  </p:cSld>
  <p:clrMapOvr>
    <a:masterClrMapping/>
  </p:clrMapOvr>
  <p:transition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E58F1F-83B5-42B0-B812-E6270318023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770111"/>
      </p:ext>
    </p:extLst>
  </p:cSld>
  <p:clrMapOvr>
    <a:masterClrMapping/>
  </p:clrMapOvr>
  <p:transition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E3EC7-AD4A-4208-9707-EFDD0556AE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927346"/>
      </p:ext>
    </p:extLst>
  </p:cSld>
  <p:clrMapOvr>
    <a:masterClrMapping/>
  </p:clrMapOvr>
  <p:transition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C2310-2BBB-49DE-8484-566D8D42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340108"/>
      </p:ext>
    </p:extLst>
  </p:cSld>
  <p:clrMapOvr>
    <a:masterClrMapping/>
  </p:clrMapOvr>
  <p:transition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F2F91-E6DE-4D05-9378-565894577D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539082"/>
      </p:ext>
    </p:extLst>
  </p:cSld>
  <p:clrMapOvr>
    <a:masterClrMapping/>
  </p:clrMapOvr>
  <p:transition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8D016-9DA0-4856-8E89-FF1336BC07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941935"/>
      </p:ext>
    </p:extLst>
  </p:cSld>
  <p:clrMapOvr>
    <a:masterClrMapping/>
  </p:clrMapOvr>
  <p:transition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2B343-C89F-4EB9-9450-2A37215D9F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993542"/>
      </p:ext>
    </p:extLst>
  </p:cSld>
  <p:clrMapOvr>
    <a:masterClrMapping/>
  </p:clrMapOvr>
  <p:transition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D7C5D-3C1D-4D5E-9939-46CDFD7B79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365668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Заголовок и 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77788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3" y="1557338"/>
            <a:ext cx="8207375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8313" y="3897313"/>
            <a:ext cx="8207375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0F63F0-8A87-404D-9179-7D5917E520F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4222468"/>
      </p:ext>
    </p:extLst>
  </p:cSld>
  <p:clrMapOvr>
    <a:masterClrMapping/>
  </p:clrMapOvr>
  <p:transition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39E7A-5A47-4910-80C5-7DBA2DE4CA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068569"/>
      </p:ext>
    </p:extLst>
  </p:cSld>
  <p:clrMapOvr>
    <a:masterClrMapping/>
  </p:clrMapOvr>
  <p:transition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21354-FBCA-4256-9487-E388D11BC1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711536"/>
      </p:ext>
    </p:extLst>
  </p:cSld>
  <p:clrMapOvr>
    <a:masterClrMapping/>
  </p:clrMapOvr>
  <p:transition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ABEBFB-9326-4E77-92E5-9555439F1D6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891716"/>
      </p:ext>
    </p:extLst>
  </p:cSld>
  <p:clrMapOvr>
    <a:masterClrMapping/>
  </p:clrMapOvr>
  <p:transition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33042131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AD52-245B-4C04-AC41-E50D54AB5A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574764"/>
      </p:ext>
    </p:extLst>
  </p:cSld>
  <p:clrMapOvr>
    <a:masterClrMapping/>
  </p:clrMapOvr>
  <p:transition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E58F1F-83B5-42B0-B812-E6270318023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011696"/>
      </p:ext>
    </p:extLst>
  </p:cSld>
  <p:clrMapOvr>
    <a:masterClrMapping/>
  </p:clrMapOvr>
  <p:transition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E3EC7-AD4A-4208-9707-EFDD0556AE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870674"/>
      </p:ext>
    </p:extLst>
  </p:cSld>
  <p:clrMapOvr>
    <a:masterClrMapping/>
  </p:clrMapOvr>
  <p:transition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C2310-2BBB-49DE-8484-566D8D42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123277"/>
      </p:ext>
    </p:extLst>
  </p:cSld>
  <p:clrMapOvr>
    <a:masterClrMapping/>
  </p:clrMapOvr>
  <p:transition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F2F91-E6DE-4D05-9378-565894577D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672414"/>
      </p:ext>
    </p:extLst>
  </p:cSld>
  <p:clrMapOvr>
    <a:masterClrMapping/>
  </p:clrMapOvr>
  <p:transition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8D016-9DA0-4856-8E89-FF1336BC07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706815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77788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557338"/>
            <a:ext cx="8207375" cy="452755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BE9950-FDD9-4FB6-9A11-37E4792C0A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3011309"/>
      </p:ext>
    </p:extLst>
  </p:cSld>
  <p:clrMapOvr>
    <a:masterClrMapping/>
  </p:clrMapOvr>
  <p:transition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2B343-C89F-4EB9-9450-2A37215D9F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590422"/>
      </p:ext>
    </p:extLst>
  </p:cSld>
  <p:clrMapOvr>
    <a:masterClrMapping/>
  </p:clrMapOvr>
  <p:transition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D7C5D-3C1D-4D5E-9939-46CDFD7B79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670378"/>
      </p:ext>
    </p:extLst>
  </p:cSld>
  <p:clrMapOvr>
    <a:masterClrMapping/>
  </p:clrMapOvr>
  <p:transition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39E7A-5A47-4910-80C5-7DBA2DE4CA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314397"/>
      </p:ext>
    </p:extLst>
  </p:cSld>
  <p:clrMapOvr>
    <a:masterClrMapping/>
  </p:clrMapOvr>
  <p:transition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21354-FBCA-4256-9487-E388D11BC1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082381"/>
      </p:ext>
    </p:extLst>
  </p:cSld>
  <p:clrMapOvr>
    <a:masterClrMapping/>
  </p:clrMapOvr>
  <p:transition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ABEBFB-9326-4E77-92E5-9555439F1D6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376752"/>
      </p:ext>
    </p:extLst>
  </p:cSld>
  <p:clrMapOvr>
    <a:masterClrMapping/>
  </p:clrMapOvr>
  <p:transition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51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8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02988027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1B9C2B-DD5C-4693-AD32-2F414A70F2E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89504"/>
      </p:ext>
    </p:extLst>
  </p:cSld>
  <p:clrMapOvr>
    <a:masterClrMapping/>
  </p:clrMapOvr>
  <p:transition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2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DB516B-30A7-48AD-980C-BC866BDAC91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385705"/>
      </p:ext>
    </p:extLst>
  </p:cSld>
  <p:clrMapOvr>
    <a:masterClrMapping/>
  </p:clrMapOvr>
  <p:transition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6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63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F2D423-61D9-4E0F-BB99-AD5C575D3C1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312141"/>
      </p:ext>
    </p:extLst>
  </p:cSld>
  <p:clrMapOvr>
    <a:masterClrMapping/>
  </p:clrMapOvr>
  <p:transition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3ED0BF-154C-49B1-A09C-B53E2DEB759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908454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  <p:sp>
        <p:nvSpPr>
          <p:cNvPr id="6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705475" y="1076325"/>
            <a:ext cx="360363" cy="360363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navigation2">
            <a:hlinkClick r:id="rId6" action="ppaction://hlinksldjump"/>
          </p:cNvPr>
          <p:cNvSpPr>
            <a:spLocks noChangeArrowheads="1"/>
          </p:cNvSpPr>
          <p:nvPr userDrawn="1"/>
        </p:nvSpPr>
        <p:spPr bwMode="auto">
          <a:xfrm>
            <a:off x="6069013" y="1076325"/>
            <a:ext cx="360362" cy="360363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hlink"/>
                </a:solidFill>
              </a:rPr>
              <a:t>2</a:t>
            </a:r>
          </a:p>
        </p:txBody>
      </p:sp>
      <p:sp>
        <p:nvSpPr>
          <p:cNvPr id="8" name="navigation3">
            <a:hlinkClick r:id="rId7" action="ppaction://hlinksldjump"/>
          </p:cNvPr>
          <p:cNvSpPr>
            <a:spLocks noChangeArrowheads="1"/>
          </p:cNvSpPr>
          <p:nvPr userDrawn="1"/>
        </p:nvSpPr>
        <p:spPr bwMode="auto">
          <a:xfrm>
            <a:off x="64325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" name="navigation4">
            <a:hlinkClick r:id="rId8" action="ppaction://hlinksldjump"/>
          </p:cNvPr>
          <p:cNvSpPr>
            <a:spLocks noChangeArrowheads="1"/>
          </p:cNvSpPr>
          <p:nvPr userDrawn="1"/>
        </p:nvSpPr>
        <p:spPr bwMode="auto">
          <a:xfrm>
            <a:off x="6796088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5962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1" name="navigation6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247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99330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993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68848606"/>
      </p:ext>
    </p:extLst>
  </p:cSld>
  <p:clrMapOvr>
    <a:masterClrMapping/>
  </p:clrMapOvr>
  <p:transition>
    <p:split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187FEE-C276-4822-A89C-CC292687036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04343"/>
      </p:ext>
    </p:extLst>
  </p:cSld>
  <p:clrMapOvr>
    <a:masterClrMapping/>
  </p:clrMapOvr>
  <p:transition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A66B19-0A2C-452F-88EA-D2346341B6F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333612"/>
      </p:ext>
    </p:extLst>
  </p:cSld>
  <p:clrMapOvr>
    <a:masterClrMapping/>
  </p:clrMapOvr>
  <p:transition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7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367A71-95FB-4BB3-B5F3-5EFB872A8A6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803078"/>
      </p:ext>
    </p:extLst>
  </p:cSld>
  <p:clrMapOvr>
    <a:masterClrMapping/>
  </p:clrMapOvr>
  <p:transition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C971A2-53CA-48F1-BB79-A9ADCC00F59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824584"/>
      </p:ext>
    </p:extLst>
  </p:cSld>
  <p:clrMapOvr>
    <a:masterClrMapping/>
  </p:clrMapOvr>
  <p:transition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CAC35B-3C78-4551-B461-F0477D1B2F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919750"/>
      </p:ext>
    </p:extLst>
  </p:cSld>
  <p:clrMapOvr>
    <a:masterClrMapping/>
  </p:clrMapOvr>
  <p:transition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6649C9-4089-4DAA-9321-B767272D9A8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122870"/>
      </p:ext>
    </p:extLst>
  </p:cSld>
  <p:clrMapOvr>
    <a:masterClrMapping/>
  </p:clrMapOvr>
  <p:transition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57539428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A4355A-B8D1-4927-8987-2E4DDFB5B83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821332"/>
      </p:ext>
    </p:extLst>
  </p:cSld>
  <p:clrMapOvr>
    <a:masterClrMapping/>
  </p:clrMapOvr>
  <p:transition/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14C6DE-6F96-4524-82EA-EAE44D22CF3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16443"/>
      </p:ext>
    </p:extLst>
  </p:cSld>
  <p:clrMapOvr>
    <a:masterClrMapping/>
  </p:clrMapOvr>
  <p:transition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5A2967-8523-4332-B2FD-B8452B5DA09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056569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597E08-2CE4-4C81-8F75-F626581F02C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0080082"/>
      </p:ext>
    </p:extLst>
  </p:cSld>
  <p:clrMapOvr>
    <a:masterClrMapping/>
  </p:clrMapOvr>
  <p:transition>
    <p:wipe dir="r"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60CA79-938D-4FE4-BC0E-B9F216137FC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639981"/>
      </p:ext>
    </p:extLst>
  </p:cSld>
  <p:clrMapOvr>
    <a:masterClrMapping/>
  </p:clrMapOvr>
  <p:transition/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C4A53D-603F-4366-9CAB-36E55BB57C7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617266"/>
      </p:ext>
    </p:extLst>
  </p:cSld>
  <p:clrMapOvr>
    <a:masterClrMapping/>
  </p:clrMapOvr>
  <p:transition/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0B2863-D3E7-4FE5-BE8D-39DF3807736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33525"/>
      </p:ext>
    </p:extLst>
  </p:cSld>
  <p:clrMapOvr>
    <a:masterClrMapping/>
  </p:clrMapOvr>
  <p:transition/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E4055F-7ECC-4528-869D-9F67784C49C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995550"/>
      </p:ext>
    </p:extLst>
  </p:cSld>
  <p:clrMapOvr>
    <a:masterClrMapping/>
  </p:clrMapOvr>
  <p:transition/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E018AF-0643-4EF7-9E26-FFAA2E03180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69682"/>
      </p:ext>
    </p:extLst>
  </p:cSld>
  <p:clrMapOvr>
    <a:masterClrMapping/>
  </p:clrMapOvr>
  <p:transition/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7C5909-F745-41E5-809F-23D9921D61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747606"/>
      </p:ext>
    </p:extLst>
  </p:cSld>
  <p:clrMapOvr>
    <a:masterClrMapping/>
  </p:clrMapOvr>
  <p:transition/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98C297-585B-4DCC-8E24-25871B8ED6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337186"/>
      </p:ext>
    </p:extLst>
  </p:cSld>
  <p:clrMapOvr>
    <a:masterClrMapping/>
  </p:clrMapOvr>
  <p:transition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448425"/>
            <a:ext cx="627062" cy="3778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0B30E1B-84C2-4E4E-81B2-430EA67652E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649929"/>
      </p:ext>
    </p:extLst>
  </p:cSld>
  <p:clrMapOvr>
    <a:masterClrMapping/>
  </p:clrMapOvr>
  <p:transition/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756150" y="1125538"/>
            <a:ext cx="4137025" cy="24971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756150" y="3775075"/>
            <a:ext cx="4137025" cy="2498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259763" y="6448425"/>
            <a:ext cx="627062" cy="3778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26DC663-112F-455B-AC85-10BF3931C9D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196624"/>
      </p:ext>
    </p:extLst>
  </p:cSld>
  <p:clrMapOvr>
    <a:masterClrMapping/>
  </p:clrMapOvr>
  <p:transition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4961369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0498BA-3DFB-4B45-A89F-B74C455DB9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157409"/>
      </p:ext>
    </p:extLst>
  </p:cSld>
  <p:clrMapOvr>
    <a:masterClrMapping/>
  </p:clrMapOvr>
  <p:transition>
    <p:wipe dir="r"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A4355A-B8D1-4927-8987-2E4DDFB5B83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570240"/>
      </p:ext>
    </p:extLst>
  </p:cSld>
  <p:clrMapOvr>
    <a:masterClrMapping/>
  </p:clrMapOvr>
  <p:transition/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14C6DE-6F96-4524-82EA-EAE44D22CF3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5053"/>
      </p:ext>
    </p:extLst>
  </p:cSld>
  <p:clrMapOvr>
    <a:masterClrMapping/>
  </p:clrMapOvr>
  <p:transition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5A2967-8523-4332-B2FD-B8452B5DA09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8176372"/>
      </p:ext>
    </p:extLst>
  </p:cSld>
  <p:clrMapOvr>
    <a:masterClrMapping/>
  </p:clrMapOvr>
  <p:transition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60CA79-938D-4FE4-BC0E-B9F216137FC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015598"/>
      </p:ext>
    </p:extLst>
  </p:cSld>
  <p:clrMapOvr>
    <a:masterClrMapping/>
  </p:clrMapOvr>
  <p:transition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C4A53D-603F-4366-9CAB-36E55BB57C7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544646"/>
      </p:ext>
    </p:extLst>
  </p:cSld>
  <p:clrMapOvr>
    <a:masterClrMapping/>
  </p:clrMapOvr>
  <p:transition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0B2863-D3E7-4FE5-BE8D-39DF3807736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831340"/>
      </p:ext>
    </p:extLst>
  </p:cSld>
  <p:clrMapOvr>
    <a:masterClrMapping/>
  </p:clrMapOvr>
  <p:transition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E4055F-7ECC-4528-869D-9F67784C49C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765855"/>
      </p:ext>
    </p:extLst>
  </p:cSld>
  <p:clrMapOvr>
    <a:masterClrMapping/>
  </p:clrMapOvr>
  <p:transition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E018AF-0643-4EF7-9E26-FFAA2E03180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369047"/>
      </p:ext>
    </p:extLst>
  </p:cSld>
  <p:clrMapOvr>
    <a:masterClrMapping/>
  </p:clrMapOvr>
  <p:transition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7C5909-F745-41E5-809F-23D9921D61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436377"/>
      </p:ext>
    </p:extLst>
  </p:cSld>
  <p:clrMapOvr>
    <a:masterClrMapping/>
  </p:clrMapOvr>
  <p:transition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98C297-585B-4DCC-8E24-25871B8ED6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390699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128B31-4084-40CB-BA45-44805BED5AD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2758558"/>
      </p:ext>
    </p:extLst>
  </p:cSld>
  <p:clrMapOvr>
    <a:masterClrMapping/>
  </p:clrMapOvr>
  <p:transition>
    <p:wipe dir="r"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687631" y="6826800"/>
            <a:ext cx="176123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>
              <a:defRPr/>
            </a:pPr>
            <a:r>
              <a:rPr lang="en-US" sz="900">
                <a:solidFill>
                  <a:srgbClr val="414142"/>
                </a:solidFill>
              </a:rPr>
              <a:t>‹#›</a:t>
            </a:r>
          </a:p>
          <a:p>
            <a:pPr algn="r">
              <a:defRPr/>
            </a:pPr>
            <a:endParaRPr lang="en-US" sz="90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963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21041957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3E1560-A1EB-4144-9524-61F07B6060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9049540"/>
      </p:ext>
    </p:extLst>
  </p:cSld>
  <p:clrMapOvr>
    <a:masterClrMapping/>
  </p:clrMapOvr>
  <p:transition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83C989-9FEA-4B62-83E1-64BA16DA6F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6294865"/>
      </p:ext>
    </p:extLst>
  </p:cSld>
  <p:clrMapOvr>
    <a:masterClrMapping/>
  </p:clrMapOvr>
  <p:transition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89CF9-1454-44B1-8198-E9E9E217FA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712129"/>
      </p:ext>
    </p:extLst>
  </p:cSld>
  <p:clrMapOvr>
    <a:masterClrMapping/>
  </p:clrMapOvr>
  <p:transition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C80A23-26FC-4730-A177-181D54F38E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6164801"/>
      </p:ext>
    </p:extLst>
  </p:cSld>
  <p:clrMapOvr>
    <a:masterClrMapping/>
  </p:clrMapOvr>
  <p:transition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46B909-5AB6-4A6C-B3C4-6460EE7AEFC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0888122"/>
      </p:ext>
    </p:extLst>
  </p:cSld>
  <p:clrMapOvr>
    <a:masterClrMapping/>
  </p:clrMapOvr>
  <p:transition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E87A70-115C-435D-AAA4-A0015FD67C6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0939894"/>
      </p:ext>
    </p:extLst>
  </p:cSld>
  <p:clrMapOvr>
    <a:masterClrMapping/>
  </p:clrMapOvr>
  <p:transition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4E0E5B-819C-4E57-96C6-E6511EE22E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8780867"/>
      </p:ext>
    </p:extLst>
  </p:cSld>
  <p:clrMapOvr>
    <a:masterClrMapping/>
  </p:clrMapOvr>
  <p:transition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975590-83EA-44B0-A765-2E5201E8E93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0435546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046E10-886B-40A9-B857-EA13C33AC7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5229204"/>
      </p:ext>
    </p:extLst>
  </p:cSld>
  <p:clrMapOvr>
    <a:masterClrMapping/>
  </p:clrMapOvr>
  <p:transition>
    <p:wipe dir="r"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891F76-69DB-45E6-930F-017D8B4BDEF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0312687"/>
      </p:ext>
    </p:extLst>
  </p:cSld>
  <p:clrMapOvr>
    <a:masterClrMapping/>
  </p:clrMapOvr>
  <p:transition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EF1C98-B0DE-446E-BF11-6FD8076FCF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0257792"/>
      </p:ext>
    </p:extLst>
  </p:cSld>
  <p:clrMapOvr>
    <a:masterClrMapping/>
  </p:clrMapOvr>
  <p:transition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F206B2-0263-4D4E-A833-7E5A36A48B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7227860"/>
      </p:ext>
    </p:extLst>
  </p:cSld>
  <p:clrMapOvr>
    <a:masterClrMapping/>
  </p:clrMapOvr>
  <p:transition/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extLst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extLst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2680287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D5EC53-31D1-40BB-9A3E-5EB4729561E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950821"/>
      </p:ext>
    </p:extLst>
  </p:cSld>
  <p:clrMapOvr>
    <a:masterClrMapping/>
  </p:clrMapOvr>
  <p:transition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5BD375-3929-402A-9D91-9F791B94C75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997756"/>
      </p:ext>
    </p:extLst>
  </p:cSld>
  <p:clrMapOvr>
    <a:masterClrMapping/>
  </p:clrMapOvr>
  <p:transition/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87BF69-75DE-46C7-AD67-CF80FFF6D88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995266"/>
      </p:ext>
    </p:extLst>
  </p:cSld>
  <p:clrMapOvr>
    <a:masterClrMapping/>
  </p:clrMapOvr>
  <p:transition/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DF3ADE-5BC8-452D-8AE0-9036E339DFF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036410"/>
      </p:ext>
    </p:extLst>
  </p:cSld>
  <p:clrMapOvr>
    <a:masterClrMapping/>
  </p:clrMapOvr>
  <p:transition/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1412A5-1705-4AB2-B14E-9C5A15E8DBF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503202"/>
      </p:ext>
    </p:extLst>
  </p:cSld>
  <p:clrMapOvr>
    <a:masterClrMapping/>
  </p:clrMapOvr>
  <p:transition/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491D80-F762-4D1D-B7F6-BAD7458CBFC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74307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FD173F-48A7-4C13-910B-080B9393DBD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01227"/>
      </p:ext>
    </p:extLst>
  </p:cSld>
  <p:clrMapOvr>
    <a:masterClrMapping/>
  </p:clrMapOvr>
  <p:transition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B92620-D287-4D38-89A3-33FD5C83B6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9951672"/>
      </p:ext>
    </p:extLst>
  </p:cSld>
  <p:clrMapOvr>
    <a:masterClrMapping/>
  </p:clrMapOvr>
  <p:transition>
    <p:wipe dir="r"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C1ACD3-8AEB-4556-A270-E7FD827AA44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171429"/>
      </p:ext>
    </p:extLst>
  </p:cSld>
  <p:clrMapOvr>
    <a:masterClrMapping/>
  </p:clrMapOvr>
  <p:transition/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F21ECC-3944-475F-BDBF-73F8246802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711966"/>
      </p:ext>
    </p:extLst>
  </p:cSld>
  <p:clrMapOvr>
    <a:masterClrMapping/>
  </p:clrMapOvr>
  <p:transition/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9135C3-68D1-4BC2-AE1A-FC81BE9A2AC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652183"/>
      </p:ext>
    </p:extLst>
  </p:cSld>
  <p:clrMapOvr>
    <a:masterClrMapping/>
  </p:clrMapOvr>
  <p:transition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F59DAF-E818-4AFF-8824-0E30388B887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286925"/>
      </p:ext>
    </p:extLst>
  </p:cSld>
  <p:clrMapOvr>
    <a:masterClrMapping/>
  </p:clrMapOvr>
  <p:transition/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33046" y="2130427"/>
            <a:ext cx="7174523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66092" y="3886200"/>
            <a:ext cx="5908431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17" indent="0" algn="ctr">
              <a:buNone/>
              <a:defRPr/>
            </a:lvl2pPr>
            <a:lvl3pPr marL="914235" indent="0" algn="ctr">
              <a:buNone/>
              <a:defRPr/>
            </a:lvl3pPr>
            <a:lvl4pPr marL="1371353" indent="0" algn="ctr">
              <a:buNone/>
              <a:defRPr/>
            </a:lvl4pPr>
            <a:lvl5pPr marL="1828470" indent="0" algn="ctr">
              <a:buNone/>
              <a:defRPr/>
            </a:lvl5pPr>
            <a:lvl6pPr marL="2285588" indent="0" algn="ctr">
              <a:buNone/>
              <a:defRPr/>
            </a:lvl6pPr>
            <a:lvl7pPr marL="2742705" indent="0" algn="ctr">
              <a:buNone/>
              <a:defRPr/>
            </a:lvl7pPr>
            <a:lvl8pPr marL="3199823" indent="0" algn="ctr">
              <a:buNone/>
              <a:defRPr/>
            </a:lvl8pPr>
            <a:lvl9pPr marL="365694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995759-0306-4AC2-829F-E537059BBEF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1985699"/>
      </p:ext>
    </p:extLst>
  </p:cSld>
  <p:clrMapOvr>
    <a:masterClrMapping/>
  </p:clrMapOvr>
  <p:transition/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819CAE-12C0-4CDE-934B-C4505F02EDD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3562344"/>
      </p:ext>
    </p:extLst>
  </p:cSld>
  <p:clrMapOvr>
    <a:masterClrMapping/>
  </p:clrMapOvr>
  <p:transition/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6750" y="4406902"/>
            <a:ext cx="7174523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66750" y="2906715"/>
            <a:ext cx="7174523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17" indent="0">
              <a:buNone/>
              <a:defRPr sz="1800"/>
            </a:lvl2pPr>
            <a:lvl3pPr marL="914235" indent="0">
              <a:buNone/>
              <a:defRPr sz="1600"/>
            </a:lvl3pPr>
            <a:lvl4pPr marL="1371353" indent="0">
              <a:buNone/>
              <a:defRPr sz="1400"/>
            </a:lvl4pPr>
            <a:lvl5pPr marL="1828470" indent="0">
              <a:buNone/>
              <a:defRPr sz="1400"/>
            </a:lvl5pPr>
            <a:lvl6pPr marL="2285588" indent="0">
              <a:buNone/>
              <a:defRPr sz="1400"/>
            </a:lvl6pPr>
            <a:lvl7pPr marL="2742705" indent="0">
              <a:buNone/>
              <a:defRPr sz="1400"/>
            </a:lvl7pPr>
            <a:lvl8pPr marL="3199823" indent="0">
              <a:buNone/>
              <a:defRPr sz="1400"/>
            </a:lvl8pPr>
            <a:lvl9pPr marL="365694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B7E689-F559-431F-8FA4-9A01DA852A0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2852167"/>
      </p:ext>
    </p:extLst>
  </p:cSld>
  <p:clrMapOvr>
    <a:masterClrMapping/>
  </p:clrMapOvr>
  <p:transition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32291" y="1125538"/>
            <a:ext cx="3817326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390294" y="1125538"/>
            <a:ext cx="3818792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A5F369-81D3-422C-955A-ACC7C6E6467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071785"/>
      </p:ext>
    </p:extLst>
  </p:cSld>
  <p:clrMapOvr>
    <a:masterClrMapping/>
  </p:clrMapOvr>
  <p:transition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1" y="274638"/>
            <a:ext cx="7596554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22031" y="1535113"/>
            <a:ext cx="372940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7" indent="0">
              <a:buNone/>
              <a:defRPr sz="2000" b="1"/>
            </a:lvl2pPr>
            <a:lvl3pPr marL="914235" indent="0">
              <a:buNone/>
              <a:defRPr sz="1800" b="1"/>
            </a:lvl3pPr>
            <a:lvl4pPr marL="1371353" indent="0">
              <a:buNone/>
              <a:defRPr sz="1600" b="1"/>
            </a:lvl4pPr>
            <a:lvl5pPr marL="1828470" indent="0">
              <a:buNone/>
              <a:defRPr sz="1600" b="1"/>
            </a:lvl5pPr>
            <a:lvl6pPr marL="2285588" indent="0">
              <a:buNone/>
              <a:defRPr sz="1600" b="1"/>
            </a:lvl6pPr>
            <a:lvl7pPr marL="2742705" indent="0">
              <a:buNone/>
              <a:defRPr sz="1600" b="1"/>
            </a:lvl7pPr>
            <a:lvl8pPr marL="3199823" indent="0">
              <a:buNone/>
              <a:defRPr sz="1600" b="1"/>
            </a:lvl8pPr>
            <a:lvl9pPr marL="365694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22031" y="2174875"/>
            <a:ext cx="372940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287717" y="1535113"/>
            <a:ext cx="3730869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7" indent="0">
              <a:buNone/>
              <a:defRPr sz="2000" b="1"/>
            </a:lvl2pPr>
            <a:lvl3pPr marL="914235" indent="0">
              <a:buNone/>
              <a:defRPr sz="1800" b="1"/>
            </a:lvl3pPr>
            <a:lvl4pPr marL="1371353" indent="0">
              <a:buNone/>
              <a:defRPr sz="1600" b="1"/>
            </a:lvl4pPr>
            <a:lvl5pPr marL="1828470" indent="0">
              <a:buNone/>
              <a:defRPr sz="1600" b="1"/>
            </a:lvl5pPr>
            <a:lvl6pPr marL="2285588" indent="0">
              <a:buNone/>
              <a:defRPr sz="1600" b="1"/>
            </a:lvl6pPr>
            <a:lvl7pPr marL="2742705" indent="0">
              <a:buNone/>
              <a:defRPr sz="1600" b="1"/>
            </a:lvl7pPr>
            <a:lvl8pPr marL="3199823" indent="0">
              <a:buNone/>
              <a:defRPr sz="1600" b="1"/>
            </a:lvl8pPr>
            <a:lvl9pPr marL="365694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287717" y="2174875"/>
            <a:ext cx="3730869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DCA48D-07B1-4509-BAA6-5CEB1401D43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8596267"/>
      </p:ext>
    </p:extLst>
  </p:cSld>
  <p:clrMapOvr>
    <a:masterClrMapping/>
  </p:clrMapOvr>
  <p:transition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28D013-536F-4904-95E5-E32A7837C64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471490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CCB470-43E6-44BC-8E7F-0058D0D3E8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1140351"/>
      </p:ext>
    </p:extLst>
  </p:cSld>
  <p:clrMapOvr>
    <a:masterClrMapping/>
  </p:clrMapOvr>
  <p:transition>
    <p:wipe dir="r"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0158F9-68C4-4E77-B751-C83A9F6DBF8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0847952"/>
      </p:ext>
    </p:extLst>
  </p:cSld>
  <p:clrMapOvr>
    <a:masterClrMapping/>
  </p:clrMapOvr>
  <p:transition/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2" y="273050"/>
            <a:ext cx="277690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300046" y="273052"/>
            <a:ext cx="471853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22032" y="1435102"/>
            <a:ext cx="277690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17" indent="0">
              <a:buNone/>
              <a:defRPr sz="1200"/>
            </a:lvl2pPr>
            <a:lvl3pPr marL="914235" indent="0">
              <a:buNone/>
              <a:defRPr sz="1000"/>
            </a:lvl3pPr>
            <a:lvl4pPr marL="1371353" indent="0">
              <a:buNone/>
              <a:defRPr sz="900"/>
            </a:lvl4pPr>
            <a:lvl5pPr marL="1828470" indent="0">
              <a:buNone/>
              <a:defRPr sz="900"/>
            </a:lvl5pPr>
            <a:lvl6pPr marL="2285588" indent="0">
              <a:buNone/>
              <a:defRPr sz="900"/>
            </a:lvl6pPr>
            <a:lvl7pPr marL="2742705" indent="0">
              <a:buNone/>
              <a:defRPr sz="900"/>
            </a:lvl7pPr>
            <a:lvl8pPr marL="3199823" indent="0">
              <a:buNone/>
              <a:defRPr sz="900"/>
            </a:lvl8pPr>
            <a:lvl9pPr marL="365694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9A3672-E258-4C6B-B991-578195614F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5989334"/>
      </p:ext>
    </p:extLst>
  </p:cSld>
  <p:clrMapOvr>
    <a:masterClrMapping/>
  </p:clrMapOvr>
  <p:transition/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4421" y="4800600"/>
            <a:ext cx="5064369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654421" y="612775"/>
            <a:ext cx="5064369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17" indent="0">
              <a:buNone/>
              <a:defRPr sz="2800"/>
            </a:lvl2pPr>
            <a:lvl3pPr marL="914235" indent="0">
              <a:buNone/>
              <a:defRPr sz="2400"/>
            </a:lvl3pPr>
            <a:lvl4pPr marL="1371353" indent="0">
              <a:buNone/>
              <a:defRPr sz="2000"/>
            </a:lvl4pPr>
            <a:lvl5pPr marL="1828470" indent="0">
              <a:buNone/>
              <a:defRPr sz="2000"/>
            </a:lvl5pPr>
            <a:lvl6pPr marL="2285588" indent="0">
              <a:buNone/>
              <a:defRPr sz="2000"/>
            </a:lvl6pPr>
            <a:lvl7pPr marL="2742705" indent="0">
              <a:buNone/>
              <a:defRPr sz="2000"/>
            </a:lvl7pPr>
            <a:lvl8pPr marL="3199823" indent="0">
              <a:buNone/>
              <a:defRPr sz="2000"/>
            </a:lvl8pPr>
            <a:lvl9pPr marL="365694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54421" y="5367338"/>
            <a:ext cx="5064369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17" indent="0">
              <a:buNone/>
              <a:defRPr sz="1200"/>
            </a:lvl2pPr>
            <a:lvl3pPr marL="914235" indent="0">
              <a:buNone/>
              <a:defRPr sz="1000"/>
            </a:lvl3pPr>
            <a:lvl4pPr marL="1371353" indent="0">
              <a:buNone/>
              <a:defRPr sz="900"/>
            </a:lvl4pPr>
            <a:lvl5pPr marL="1828470" indent="0">
              <a:buNone/>
              <a:defRPr sz="900"/>
            </a:lvl5pPr>
            <a:lvl6pPr marL="2285588" indent="0">
              <a:buNone/>
              <a:defRPr sz="900"/>
            </a:lvl6pPr>
            <a:lvl7pPr marL="2742705" indent="0">
              <a:buNone/>
              <a:defRPr sz="900"/>
            </a:lvl7pPr>
            <a:lvl8pPr marL="3199823" indent="0">
              <a:buNone/>
              <a:defRPr sz="900"/>
            </a:lvl8pPr>
            <a:lvl9pPr marL="365694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17C64C-3EAF-4898-BB49-2B534D2EC74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0019014"/>
      </p:ext>
    </p:extLst>
  </p:cSld>
  <p:clrMapOvr>
    <a:masterClrMapping/>
  </p:clrMapOvr>
  <p:transition/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D043A8-59B6-447E-A2B2-477A2309D25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5526509"/>
      </p:ext>
    </p:extLst>
  </p:cSld>
  <p:clrMapOvr>
    <a:masterClrMapping/>
  </p:clrMapOvr>
  <p:transition/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265985" y="0"/>
            <a:ext cx="1943100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32289" y="0"/>
            <a:ext cx="5693019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D3B3DF-2FB7-4ACB-B2AC-F7AC1C94AE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1842619"/>
      </p:ext>
    </p:extLst>
  </p:cSld>
  <p:clrMapOvr>
    <a:masterClrMapping/>
  </p:clrMapOvr>
  <p:transition/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2289" y="1"/>
            <a:ext cx="7045569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32289" y="1125538"/>
            <a:ext cx="7776796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3B9B1A-A515-418D-A1B4-CA063AA375B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1359794"/>
      </p:ext>
    </p:extLst>
  </p:cSld>
  <p:clrMapOvr>
    <a:masterClrMapping/>
  </p:clrMapOvr>
  <p:transition/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2289" y="1"/>
            <a:ext cx="7045569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32289" y="1125538"/>
            <a:ext cx="7776796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A5228C-0D57-445C-B62E-5F85AF03D68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177572"/>
      </p:ext>
    </p:extLst>
  </p:cSld>
  <p:clrMapOvr>
    <a:masterClrMapping/>
  </p:clrMapOvr>
  <p:transition/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20691087"/>
      </p:ext>
    </p:extLst>
  </p:cSld>
  <p:clrMapOvr>
    <a:masterClrMapping/>
  </p:clrMapOvr>
  <p:transition>
    <p:fad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0768F3-9286-4B51-AB77-C54A6CB9906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4357086"/>
      </p:ext>
    </p:extLst>
  </p:cSld>
  <p:clrMapOvr>
    <a:masterClrMapping/>
  </p:clrMapOvr>
  <p:transition/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CA7758-E9ED-4994-ACCB-3F945BB59BC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7868934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519EE1-5797-41A4-8A72-E6505A7FCB0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743868"/>
      </p:ext>
    </p:extLst>
  </p:cSld>
  <p:clrMapOvr>
    <a:masterClrMapping/>
  </p:clrMapOvr>
  <p:transition>
    <p:wipe dir="r"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F255ED-F103-458E-AFB3-6695982D6E5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8422819"/>
      </p:ext>
    </p:extLst>
  </p:cSld>
  <p:clrMapOvr>
    <a:masterClrMapping/>
  </p:clrMapOvr>
  <p:transition/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EE49FC-2D92-43CF-A803-8EEB3AF1683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424286"/>
      </p:ext>
    </p:extLst>
  </p:cSld>
  <p:clrMapOvr>
    <a:masterClrMapping/>
  </p:clrMapOvr>
  <p:transition/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F33814-9A60-4CD7-9CA6-565D94E1F72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2855231"/>
      </p:ext>
    </p:extLst>
  </p:cSld>
  <p:clrMapOvr>
    <a:masterClrMapping/>
  </p:clrMapOvr>
  <p:transition/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4F8E00-5DB4-4FA7-BD69-C793D708B39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8381258"/>
      </p:ext>
    </p:extLst>
  </p:cSld>
  <p:clrMapOvr>
    <a:masterClrMapping/>
  </p:clrMapOvr>
  <p:transition/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818755-D714-4904-8DAC-9C96F618C0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1712951"/>
      </p:ext>
    </p:extLst>
  </p:cSld>
  <p:clrMapOvr>
    <a:masterClrMapping/>
  </p:clrMapOvr>
  <p:transition/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16CDB7-81B0-4A82-A8E9-3505FE8CD85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1030061"/>
      </p:ext>
    </p:extLst>
  </p:cSld>
  <p:clrMapOvr>
    <a:masterClrMapping/>
  </p:clrMapOvr>
  <p:transition/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7D08B-0BAA-4F04-A31E-0951E6FE72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1414755"/>
      </p:ext>
    </p:extLst>
  </p:cSld>
  <p:clrMapOvr>
    <a:masterClrMapping/>
  </p:clrMapOvr>
  <p:transition/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255B58-2D4C-46A8-AB91-623465CA6CA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0895629"/>
      </p:ext>
    </p:extLst>
  </p:cSld>
  <p:clrMapOvr>
    <a:masterClrMapping/>
  </p:clrMapOvr>
  <p:transition/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CF02DC-3E3A-45DB-9D59-4A9C6EC80F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9340960"/>
      </p:ext>
    </p:extLst>
  </p:cSld>
  <p:clrMapOvr>
    <a:masterClrMapping/>
  </p:clrMapOvr>
  <p:transition/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92" y="293730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67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17" y="3284580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0070300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E201AF-EBD9-4925-8CCF-7515C6FE02E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4321919"/>
      </p:ext>
    </p:extLst>
  </p:cSld>
  <p:clrMapOvr>
    <a:masterClrMapping/>
  </p:clrMapOvr>
  <p:transition>
    <p:wipe dir="r"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AD52-245B-4C04-AC41-E50D54AB5A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540381"/>
      </p:ext>
    </p:extLst>
  </p:cSld>
  <p:clrMapOvr>
    <a:masterClrMapping/>
  </p:clrMapOvr>
  <p:transition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216" indent="0">
              <a:buNone/>
              <a:defRPr sz="1800"/>
            </a:lvl2pPr>
            <a:lvl3pPr marL="910435" indent="0">
              <a:buNone/>
              <a:defRPr sz="1600"/>
            </a:lvl3pPr>
            <a:lvl4pPr marL="1365652" indent="0">
              <a:buNone/>
              <a:defRPr sz="1400"/>
            </a:lvl4pPr>
            <a:lvl5pPr marL="1820868" indent="0">
              <a:buNone/>
              <a:defRPr sz="1400"/>
            </a:lvl5pPr>
            <a:lvl6pPr marL="2276085" indent="0">
              <a:buNone/>
              <a:defRPr sz="1400"/>
            </a:lvl6pPr>
            <a:lvl7pPr marL="2731305" indent="0">
              <a:buNone/>
              <a:defRPr sz="1400"/>
            </a:lvl7pPr>
            <a:lvl8pPr marL="3186522" indent="0">
              <a:buNone/>
              <a:defRPr sz="1400"/>
            </a:lvl8pPr>
            <a:lvl9pPr marL="364173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E58F1F-83B5-42B0-B812-E6270318023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491059"/>
      </p:ext>
    </p:extLst>
  </p:cSld>
  <p:clrMapOvr>
    <a:masterClrMapping/>
  </p:clrMapOvr>
  <p:transition/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6" y="112554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4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E3EC7-AD4A-4208-9707-EFDD0556AE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274394"/>
      </p:ext>
    </p:extLst>
  </p:cSld>
  <p:clrMapOvr>
    <a:masterClrMapping/>
  </p:clrMapOvr>
  <p:transition/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14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216" indent="0">
              <a:buNone/>
              <a:defRPr sz="2000" b="1"/>
            </a:lvl2pPr>
            <a:lvl3pPr marL="910435" indent="0">
              <a:buNone/>
              <a:defRPr sz="1800" b="1"/>
            </a:lvl3pPr>
            <a:lvl4pPr marL="1365652" indent="0">
              <a:buNone/>
              <a:defRPr sz="1600" b="1"/>
            </a:lvl4pPr>
            <a:lvl5pPr marL="1820868" indent="0">
              <a:buNone/>
              <a:defRPr sz="1600" b="1"/>
            </a:lvl5pPr>
            <a:lvl6pPr marL="2276085" indent="0">
              <a:buNone/>
              <a:defRPr sz="1600" b="1"/>
            </a:lvl6pPr>
            <a:lvl7pPr marL="2731305" indent="0">
              <a:buNone/>
              <a:defRPr sz="1600" b="1"/>
            </a:lvl7pPr>
            <a:lvl8pPr marL="3186522" indent="0">
              <a:buNone/>
              <a:defRPr sz="1600" b="1"/>
            </a:lvl8pPr>
            <a:lvl9pPr marL="364173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14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216" indent="0">
              <a:buNone/>
              <a:defRPr sz="2000" b="1"/>
            </a:lvl2pPr>
            <a:lvl3pPr marL="910435" indent="0">
              <a:buNone/>
              <a:defRPr sz="1800" b="1"/>
            </a:lvl3pPr>
            <a:lvl4pPr marL="1365652" indent="0">
              <a:buNone/>
              <a:defRPr sz="1600" b="1"/>
            </a:lvl4pPr>
            <a:lvl5pPr marL="1820868" indent="0">
              <a:buNone/>
              <a:defRPr sz="1600" b="1"/>
            </a:lvl5pPr>
            <a:lvl6pPr marL="2276085" indent="0">
              <a:buNone/>
              <a:defRPr sz="1600" b="1"/>
            </a:lvl6pPr>
            <a:lvl7pPr marL="2731305" indent="0">
              <a:buNone/>
              <a:defRPr sz="1600" b="1"/>
            </a:lvl7pPr>
            <a:lvl8pPr marL="3186522" indent="0">
              <a:buNone/>
              <a:defRPr sz="1600" b="1"/>
            </a:lvl8pPr>
            <a:lvl9pPr marL="364173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C2310-2BBB-49DE-8484-566D8D42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3499"/>
      </p:ext>
    </p:extLst>
  </p:cSld>
  <p:clrMapOvr>
    <a:masterClrMapping/>
  </p:clrMapOvr>
  <p:transition/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F2F91-E6DE-4D05-9378-565894577D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717364"/>
      </p:ext>
    </p:extLst>
  </p:cSld>
  <p:clrMapOvr>
    <a:masterClrMapping/>
  </p:clrMapOvr>
  <p:transition/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8D016-9DA0-4856-8E89-FF1336BC07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404217"/>
      </p:ext>
    </p:extLst>
  </p:cSld>
  <p:clrMapOvr>
    <a:masterClrMapping/>
  </p:clrMapOvr>
  <p:transition/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4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9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42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5216" indent="0">
              <a:buNone/>
              <a:defRPr sz="1200"/>
            </a:lvl2pPr>
            <a:lvl3pPr marL="910435" indent="0">
              <a:buNone/>
              <a:defRPr sz="1000"/>
            </a:lvl3pPr>
            <a:lvl4pPr marL="1365652" indent="0">
              <a:buNone/>
              <a:defRPr sz="900"/>
            </a:lvl4pPr>
            <a:lvl5pPr marL="1820868" indent="0">
              <a:buNone/>
              <a:defRPr sz="900"/>
            </a:lvl5pPr>
            <a:lvl6pPr marL="2276085" indent="0">
              <a:buNone/>
              <a:defRPr sz="900"/>
            </a:lvl6pPr>
            <a:lvl7pPr marL="2731305" indent="0">
              <a:buNone/>
              <a:defRPr sz="900"/>
            </a:lvl7pPr>
            <a:lvl8pPr marL="3186522" indent="0">
              <a:buNone/>
              <a:defRPr sz="900"/>
            </a:lvl8pPr>
            <a:lvl9pPr marL="364173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2B343-C89F-4EB9-9450-2A37215D9F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07847"/>
      </p:ext>
    </p:extLst>
  </p:cSld>
  <p:clrMapOvr>
    <a:masterClrMapping/>
  </p:clrMapOvr>
  <p:transition/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5216" indent="0">
              <a:buNone/>
              <a:defRPr sz="2800"/>
            </a:lvl2pPr>
            <a:lvl3pPr marL="910435" indent="0">
              <a:buNone/>
              <a:defRPr sz="2400"/>
            </a:lvl3pPr>
            <a:lvl4pPr marL="1365652" indent="0">
              <a:buNone/>
              <a:defRPr sz="2000"/>
            </a:lvl4pPr>
            <a:lvl5pPr marL="1820868" indent="0">
              <a:buNone/>
              <a:defRPr sz="2000"/>
            </a:lvl5pPr>
            <a:lvl6pPr marL="2276085" indent="0">
              <a:buNone/>
              <a:defRPr sz="2000"/>
            </a:lvl6pPr>
            <a:lvl7pPr marL="2731305" indent="0">
              <a:buNone/>
              <a:defRPr sz="2000"/>
            </a:lvl7pPr>
            <a:lvl8pPr marL="3186522" indent="0">
              <a:buNone/>
              <a:defRPr sz="2000"/>
            </a:lvl8pPr>
            <a:lvl9pPr marL="3641739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5216" indent="0">
              <a:buNone/>
              <a:defRPr sz="1200"/>
            </a:lvl2pPr>
            <a:lvl3pPr marL="910435" indent="0">
              <a:buNone/>
              <a:defRPr sz="1000"/>
            </a:lvl3pPr>
            <a:lvl4pPr marL="1365652" indent="0">
              <a:buNone/>
              <a:defRPr sz="900"/>
            </a:lvl4pPr>
            <a:lvl5pPr marL="1820868" indent="0">
              <a:buNone/>
              <a:defRPr sz="900"/>
            </a:lvl5pPr>
            <a:lvl6pPr marL="2276085" indent="0">
              <a:buNone/>
              <a:defRPr sz="900"/>
            </a:lvl6pPr>
            <a:lvl7pPr marL="2731305" indent="0">
              <a:buNone/>
              <a:defRPr sz="900"/>
            </a:lvl7pPr>
            <a:lvl8pPr marL="3186522" indent="0">
              <a:buNone/>
              <a:defRPr sz="900"/>
            </a:lvl8pPr>
            <a:lvl9pPr marL="364173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D7C5D-3C1D-4D5E-9939-46CDFD7B79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43263"/>
      </p:ext>
    </p:extLst>
  </p:cSld>
  <p:clrMapOvr>
    <a:masterClrMapping/>
  </p:clrMapOvr>
  <p:transition/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39E7A-5A47-4910-80C5-7DBA2DE4CA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843638"/>
      </p:ext>
    </p:extLst>
  </p:cSld>
  <p:clrMapOvr>
    <a:masterClrMapping/>
  </p:clrMapOvr>
  <p:transition/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23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54" y="23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21354-FBCA-4256-9487-E388D11BC1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85874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C79EE1-D573-406C-87F8-DD57B1C4006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3431598"/>
      </p:ext>
    </p:extLst>
  </p:cSld>
  <p:clrMapOvr>
    <a:masterClrMapping/>
  </p:clrMapOvr>
  <p:transition>
    <p:wipe dir="r"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831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ABEBFB-9326-4E77-92E5-9555439F1D6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788151"/>
      </p:ext>
    </p:extLst>
  </p:cSld>
  <p:clrMapOvr>
    <a:masterClrMapping/>
  </p:clrMapOvr>
  <p:transition/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74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9" y="2181286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6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32294947"/>
      </p:ext>
    </p:extLst>
  </p:cSld>
  <p:clrMapOvr>
    <a:masterClrMapping/>
  </p:clrMapOvr>
  <p:transition/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600595"/>
      </p:ext>
    </p:extLst>
  </p:cSld>
  <p:clrMapOvr>
    <a:masterClrMapping/>
  </p:clrMapOvr>
  <p:transition/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6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20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952" indent="0">
              <a:buNone/>
              <a:defRPr sz="1800"/>
            </a:lvl2pPr>
            <a:lvl3pPr marL="913905" indent="0">
              <a:buNone/>
              <a:defRPr sz="1600"/>
            </a:lvl3pPr>
            <a:lvl4pPr marL="1370859" indent="0">
              <a:buNone/>
              <a:defRPr sz="1400"/>
            </a:lvl4pPr>
            <a:lvl5pPr marL="1827810" indent="0">
              <a:buNone/>
              <a:defRPr sz="1400"/>
            </a:lvl5pPr>
            <a:lvl6pPr marL="2284764" indent="0">
              <a:buNone/>
              <a:defRPr sz="1400"/>
            </a:lvl6pPr>
            <a:lvl7pPr marL="2741717" indent="0">
              <a:buNone/>
              <a:defRPr sz="1400"/>
            </a:lvl7pPr>
            <a:lvl8pPr marL="3198669" indent="0">
              <a:buNone/>
              <a:defRPr sz="1400"/>
            </a:lvl8pPr>
            <a:lvl9pPr marL="365562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349555"/>
      </p:ext>
    </p:extLst>
  </p:cSld>
  <p:clrMapOvr>
    <a:masterClrMapping/>
  </p:clrMapOvr>
  <p:transition/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82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826989"/>
      </p:ext>
    </p:extLst>
  </p:cSld>
  <p:clrMapOvr>
    <a:masterClrMapping/>
  </p:clrMapOvr>
  <p:transition/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52" indent="0">
              <a:buNone/>
              <a:defRPr sz="2000" b="1"/>
            </a:lvl2pPr>
            <a:lvl3pPr marL="913905" indent="0">
              <a:buNone/>
              <a:defRPr sz="1800" b="1"/>
            </a:lvl3pPr>
            <a:lvl4pPr marL="1370859" indent="0">
              <a:buNone/>
              <a:defRPr sz="1600" b="1"/>
            </a:lvl4pPr>
            <a:lvl5pPr marL="1827810" indent="0">
              <a:buNone/>
              <a:defRPr sz="1600" b="1"/>
            </a:lvl5pPr>
            <a:lvl6pPr marL="2284764" indent="0">
              <a:buNone/>
              <a:defRPr sz="1600" b="1"/>
            </a:lvl6pPr>
            <a:lvl7pPr marL="2741717" indent="0">
              <a:buNone/>
              <a:defRPr sz="1600" b="1"/>
            </a:lvl7pPr>
            <a:lvl8pPr marL="3198669" indent="0">
              <a:buNone/>
              <a:defRPr sz="1600" b="1"/>
            </a:lvl8pPr>
            <a:lvl9pPr marL="365562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52" indent="0">
              <a:buNone/>
              <a:defRPr sz="2000" b="1"/>
            </a:lvl2pPr>
            <a:lvl3pPr marL="913905" indent="0">
              <a:buNone/>
              <a:defRPr sz="1800" b="1"/>
            </a:lvl3pPr>
            <a:lvl4pPr marL="1370859" indent="0">
              <a:buNone/>
              <a:defRPr sz="1600" b="1"/>
            </a:lvl4pPr>
            <a:lvl5pPr marL="1827810" indent="0">
              <a:buNone/>
              <a:defRPr sz="1600" b="1"/>
            </a:lvl5pPr>
            <a:lvl6pPr marL="2284764" indent="0">
              <a:buNone/>
              <a:defRPr sz="1600" b="1"/>
            </a:lvl6pPr>
            <a:lvl7pPr marL="2741717" indent="0">
              <a:buNone/>
              <a:defRPr sz="1600" b="1"/>
            </a:lvl7pPr>
            <a:lvl8pPr marL="3198669" indent="0">
              <a:buNone/>
              <a:defRPr sz="1600" b="1"/>
            </a:lvl8pPr>
            <a:lvl9pPr marL="365562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877542"/>
      </p:ext>
    </p:extLst>
  </p:cSld>
  <p:clrMapOvr>
    <a:masterClrMapping/>
  </p:clrMapOvr>
  <p:transition/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815849"/>
      </p:ext>
    </p:extLst>
  </p:cSld>
  <p:clrMapOvr>
    <a:masterClrMapping/>
  </p:clrMapOvr>
  <p:transition/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651273"/>
      </p:ext>
    </p:extLst>
  </p:cSld>
  <p:clrMapOvr>
    <a:masterClrMapping/>
  </p:clrMapOvr>
  <p:transition/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952" indent="0">
              <a:buNone/>
              <a:defRPr sz="1200"/>
            </a:lvl2pPr>
            <a:lvl3pPr marL="913905" indent="0">
              <a:buNone/>
              <a:defRPr sz="1000"/>
            </a:lvl3pPr>
            <a:lvl4pPr marL="1370859" indent="0">
              <a:buNone/>
              <a:defRPr sz="900"/>
            </a:lvl4pPr>
            <a:lvl5pPr marL="1827810" indent="0">
              <a:buNone/>
              <a:defRPr sz="900"/>
            </a:lvl5pPr>
            <a:lvl6pPr marL="2284764" indent="0">
              <a:buNone/>
              <a:defRPr sz="900"/>
            </a:lvl6pPr>
            <a:lvl7pPr marL="2741717" indent="0">
              <a:buNone/>
              <a:defRPr sz="900"/>
            </a:lvl7pPr>
            <a:lvl8pPr marL="3198669" indent="0">
              <a:buNone/>
              <a:defRPr sz="900"/>
            </a:lvl8pPr>
            <a:lvl9pPr marL="365562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552692"/>
      </p:ext>
    </p:extLst>
  </p:cSld>
  <p:clrMapOvr>
    <a:masterClrMapping/>
  </p:clrMapOvr>
  <p:transition/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952" indent="0">
              <a:buNone/>
              <a:defRPr sz="2800"/>
            </a:lvl2pPr>
            <a:lvl3pPr marL="913905" indent="0">
              <a:buNone/>
              <a:defRPr sz="2400"/>
            </a:lvl3pPr>
            <a:lvl4pPr marL="1370859" indent="0">
              <a:buNone/>
              <a:defRPr sz="2000"/>
            </a:lvl4pPr>
            <a:lvl5pPr marL="1827810" indent="0">
              <a:buNone/>
              <a:defRPr sz="2000"/>
            </a:lvl5pPr>
            <a:lvl6pPr marL="2284764" indent="0">
              <a:buNone/>
              <a:defRPr sz="2000"/>
            </a:lvl6pPr>
            <a:lvl7pPr marL="2741717" indent="0">
              <a:buNone/>
              <a:defRPr sz="2000"/>
            </a:lvl7pPr>
            <a:lvl8pPr marL="3198669" indent="0">
              <a:buNone/>
              <a:defRPr sz="2000"/>
            </a:lvl8pPr>
            <a:lvl9pPr marL="365562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952" indent="0">
              <a:buNone/>
              <a:defRPr sz="1200"/>
            </a:lvl2pPr>
            <a:lvl3pPr marL="913905" indent="0">
              <a:buNone/>
              <a:defRPr sz="1000"/>
            </a:lvl3pPr>
            <a:lvl4pPr marL="1370859" indent="0">
              <a:buNone/>
              <a:defRPr sz="900"/>
            </a:lvl4pPr>
            <a:lvl5pPr marL="1827810" indent="0">
              <a:buNone/>
              <a:defRPr sz="900"/>
            </a:lvl5pPr>
            <a:lvl6pPr marL="2284764" indent="0">
              <a:buNone/>
              <a:defRPr sz="900"/>
            </a:lvl6pPr>
            <a:lvl7pPr marL="2741717" indent="0">
              <a:buNone/>
              <a:defRPr sz="900"/>
            </a:lvl7pPr>
            <a:lvl8pPr marL="3198669" indent="0">
              <a:buNone/>
              <a:defRPr sz="900"/>
            </a:lvl8pPr>
            <a:lvl9pPr marL="365562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026329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B23DD0-5B79-4DB8-8DC1-759351FAB0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7393203"/>
      </p:ext>
    </p:extLst>
  </p:cSld>
  <p:clrMapOvr>
    <a:masterClrMapping/>
  </p:clrMapOvr>
  <p:transition>
    <p:wipe dir="r"/>
  </p:transition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535397"/>
      </p:ext>
    </p:extLst>
  </p:cSld>
  <p:clrMapOvr>
    <a:masterClrMapping/>
  </p:clrMapOvr>
  <p:transition/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866419"/>
      </p:ext>
    </p:extLst>
  </p:cSld>
  <p:clrMapOvr>
    <a:masterClrMapping/>
  </p:clrMapOvr>
  <p:transition/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2" cstate="print"/>
          <a:srcRect l="19760" t="20378" r="11069" b="63089"/>
          <a:stretch>
            <a:fillRect/>
          </a:stretch>
        </p:blipFill>
        <p:spPr bwMode="auto">
          <a:xfrm>
            <a:off x="11730" y="190509"/>
            <a:ext cx="9132277" cy="18446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 cstate="print"/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969" cy="21955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90"/>
            <a:ext cx="7291409" cy="851647"/>
          </a:xfrm>
        </p:spPr>
        <p:txBody>
          <a:bodyPr anchor="ctr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315" y="6596123"/>
            <a:ext cx="3068515" cy="261937"/>
          </a:xfrm>
          <a:prstGeom prst="rect">
            <a:avLst/>
          </a:prstGeom>
        </p:spPr>
        <p:txBody>
          <a:bodyPr lIns="91390" tIns="45696" rIns="91390" bIns="45696"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414142"/>
                </a:solidFill>
                <a:latin typeface="Arial"/>
                <a:cs typeface="Arial"/>
              </a:rPr>
              <a:t>Дополнительно проверять:</a:t>
            </a:r>
            <a:endParaRPr lang="ru-RU">
              <a:solidFill>
                <a:srgbClr val="41414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8105545"/>
      </p:ext>
    </p:extLst>
  </p:cSld>
  <p:clrMapOvr>
    <a:masterClrMapping/>
  </p:clrMapOvr>
  <p:transition/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78131958"/>
      </p:ext>
    </p:extLst>
  </p:cSld>
  <p:clrMapOvr>
    <a:masterClrMapping/>
  </p:clrMapOvr>
  <p:transition>
    <p:fade/>
  </p:transition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AD52-245B-4C04-AC41-E50D54AB5A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7873636"/>
      </p:ext>
    </p:extLst>
  </p:cSld>
  <p:clrMapOvr>
    <a:masterClrMapping/>
  </p:clrMapOvr>
  <p:transition/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E58F1F-83B5-42B0-B812-E6270318023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508935"/>
      </p:ext>
    </p:extLst>
  </p:cSld>
  <p:clrMapOvr>
    <a:masterClrMapping/>
  </p:clrMapOvr>
  <p:transition/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E3EC7-AD4A-4208-9707-EFDD0556AE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235945"/>
      </p:ext>
    </p:extLst>
  </p:cSld>
  <p:clrMapOvr>
    <a:masterClrMapping/>
  </p:clrMapOvr>
  <p:transition/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C2310-2BBB-49DE-8484-566D8D42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853111"/>
      </p:ext>
    </p:extLst>
  </p:cSld>
  <p:clrMapOvr>
    <a:masterClrMapping/>
  </p:clrMapOvr>
  <p:transition/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F2F91-E6DE-4D05-9378-565894577DB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08773"/>
      </p:ext>
    </p:extLst>
  </p:cSld>
  <p:clrMapOvr>
    <a:masterClrMapping/>
  </p:clrMapOvr>
  <p:transition/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8D016-9DA0-4856-8E89-FF1336BC07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79222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>
            <a:hlinkClick r:id="rId3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  <p:sp>
        <p:nvSpPr>
          <p:cNvPr id="5" name="navigation1">
            <a:hlinkClick r:id="rId4" action="ppaction://hlinksldjump"/>
          </p:cNvPr>
          <p:cNvSpPr>
            <a:spLocks noChangeArrowheads="1"/>
          </p:cNvSpPr>
          <p:nvPr userDrawn="1"/>
        </p:nvSpPr>
        <p:spPr bwMode="auto">
          <a:xfrm>
            <a:off x="5705475" y="1076325"/>
            <a:ext cx="360363" cy="360363"/>
          </a:xfrm>
          <a:prstGeom prst="ellipse">
            <a:avLst/>
          </a:prstGeom>
          <a:solidFill>
            <a:schemeClr val="bg1"/>
          </a:solidFill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hlink"/>
                </a:solidFill>
              </a:rPr>
              <a:t>1</a:t>
            </a:r>
          </a:p>
        </p:txBody>
      </p:sp>
      <p:sp>
        <p:nvSpPr>
          <p:cNvPr id="6" name="navigation2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6069013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navigation3">
            <a:hlinkClick r:id="rId6" action="ppaction://hlinksldjump"/>
          </p:cNvPr>
          <p:cNvSpPr>
            <a:spLocks noChangeArrowheads="1"/>
          </p:cNvSpPr>
          <p:nvPr userDrawn="1"/>
        </p:nvSpPr>
        <p:spPr bwMode="auto">
          <a:xfrm>
            <a:off x="64325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" name="navigation4">
            <a:hlinkClick r:id="rId7" action="ppaction://hlinksldjump"/>
          </p:cNvPr>
          <p:cNvSpPr>
            <a:spLocks noChangeArrowheads="1"/>
          </p:cNvSpPr>
          <p:nvPr userDrawn="1"/>
        </p:nvSpPr>
        <p:spPr bwMode="auto">
          <a:xfrm>
            <a:off x="6796088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9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5962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0" name="navigation6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247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6</a:t>
            </a:r>
          </a:p>
        </p:txBody>
      </p:sp>
      <p:pic>
        <p:nvPicPr>
          <p:cNvPr id="11" name="navigation8" descr="ujkm,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2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342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93604653"/>
      </p:ext>
    </p:extLst>
  </p:cSld>
  <p:clrMapOvr>
    <a:masterClrMapping/>
  </p:clrMapOvr>
  <p:transition>
    <p:split/>
  </p:transition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2B343-C89F-4EB9-9450-2A37215D9F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874521"/>
      </p:ext>
    </p:extLst>
  </p:cSld>
  <p:clrMapOvr>
    <a:masterClrMapping/>
  </p:clrMapOvr>
  <p:transition/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D7C5D-3C1D-4D5E-9939-46CDFD7B79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973830"/>
      </p:ext>
    </p:extLst>
  </p:cSld>
  <p:clrMapOvr>
    <a:masterClrMapping/>
  </p:clrMapOvr>
  <p:transition/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39E7A-5A47-4910-80C5-7DBA2DE4CAA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502585"/>
      </p:ext>
    </p:extLst>
  </p:cSld>
  <p:clrMapOvr>
    <a:masterClrMapping/>
  </p:clrMapOvr>
  <p:transition/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21354-FBCA-4256-9487-E388D11BC1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022581"/>
      </p:ext>
    </p:extLst>
  </p:cSld>
  <p:clrMapOvr>
    <a:masterClrMapping/>
  </p:clrMapOvr>
  <p:transition/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23" y="77789"/>
            <a:ext cx="8206154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923" y="1557338"/>
            <a:ext cx="8206154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ABEBFB-9326-4E77-92E5-9555439F1D6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702917"/>
      </p:ext>
    </p:extLst>
  </p:cSld>
  <p:clrMapOvr>
    <a:masterClrMapping/>
  </p:clrMapOvr>
  <p:transition/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 userDrawn="1"/>
        </p:nvGrpSpPr>
        <p:grpSpPr>
          <a:xfrm>
            <a:off x="-36873" y="-47003"/>
            <a:ext cx="9188615" cy="846767"/>
            <a:chOff x="-49164" y="-47003"/>
            <a:chExt cx="12251487" cy="846767"/>
          </a:xfrm>
        </p:grpSpPr>
        <p:sp>
          <p:nvSpPr>
            <p:cNvPr id="2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 dirty="0">
                <a:solidFill>
                  <a:prstClr val="black"/>
                </a:solidFill>
                <a:cs typeface="+mn-cs"/>
              </a:endParaRPr>
            </a:p>
          </p:txBody>
        </p:sp>
      </p:grpSp>
      <p:sp>
        <p:nvSpPr>
          <p:cNvPr id="46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0"/>
            <a:ext cx="9144000" cy="2556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2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7" name="Text Placeholder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77008" y="1996701"/>
            <a:ext cx="7879373" cy="1328056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spcBef>
                <a:spcPts val="369"/>
              </a:spcBef>
              <a:defRPr/>
            </a:lvl3pPr>
            <a:lvl4pPr>
              <a:defRPr/>
            </a:lvl4pPr>
          </a:lstStyle>
          <a:p>
            <a:pPr lvl="0"/>
            <a:r>
              <a:rPr lang="en-US" dirty="0" smtClean="0"/>
              <a:t>Click to edit Master text styles – Level 0</a:t>
            </a:r>
          </a:p>
          <a:p>
            <a:pPr lvl="1"/>
            <a:r>
              <a:rPr lang="en-US" dirty="0" smtClean="0"/>
              <a:t>Level 1</a:t>
            </a:r>
          </a:p>
          <a:p>
            <a:pPr lvl="2"/>
            <a:r>
              <a:rPr lang="en-US" dirty="0" smtClean="0"/>
              <a:t>Level 2</a:t>
            </a:r>
          </a:p>
          <a:p>
            <a:pPr lvl="3"/>
            <a:r>
              <a:rPr lang="en-US" dirty="0" smtClean="0"/>
              <a:t>Level 3</a:t>
            </a:r>
          </a:p>
        </p:txBody>
      </p:sp>
      <p:sp>
        <p:nvSpPr>
          <p:cNvPr id="43" name="Title 4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3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562594" y="117968"/>
            <a:ext cx="3980897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>
              <a:defRPr/>
            </a:pPr>
            <a:fld id="{7AA7B471-74A3-4F5F-8955-6C99E2375CAC}" type="slidenum">
              <a:rPr lang="en-US" sz="1350">
                <a:solidFill>
                  <a:prstClr val="white"/>
                </a:solidFill>
                <a:latin typeface="Arial Narrow"/>
                <a:cs typeface="Arial" pitchFamily="34" charset="0"/>
              </a:rPr>
              <a:pPr defTabSz="844083">
                <a:defRPr/>
              </a:pPr>
              <a:t>‹#›</a:t>
            </a:fld>
            <a:endParaRPr lang="en-US" sz="1350" dirty="0">
              <a:solidFill>
                <a:prstClr val="white"/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6971105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19"/>
          <p:cNvGrpSpPr/>
          <p:nvPr userDrawn="1"/>
        </p:nvGrpSpPr>
        <p:grpSpPr>
          <a:xfrm>
            <a:off x="-36873" y="-47003"/>
            <a:ext cx="9188615" cy="846767"/>
            <a:chOff x="-49164" y="-47003"/>
            <a:chExt cx="12251487" cy="846767"/>
          </a:xfrm>
        </p:grpSpPr>
        <p:sp>
          <p:nvSpPr>
            <p:cNvPr id="2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 dirty="0">
                <a:solidFill>
                  <a:prstClr val="black"/>
                </a:solidFill>
                <a:cs typeface="+mn-cs"/>
              </a:endParaRPr>
            </a:p>
          </p:txBody>
        </p:sp>
      </p:grpSp>
      <p:sp>
        <p:nvSpPr>
          <p:cNvPr id="10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2"/>
            <a:ext cx="9144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2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77008" y="856802"/>
            <a:ext cx="7879373" cy="773999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5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562594" y="117968"/>
            <a:ext cx="3980897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>
              <a:defRPr/>
            </a:pPr>
            <a:fld id="{7AA7B471-74A3-4F5F-8955-6C99E2375CAC}" type="slidenum">
              <a:rPr lang="en-US" sz="1350">
                <a:solidFill>
                  <a:prstClr val="white"/>
                </a:solidFill>
                <a:latin typeface="Arial Narrow"/>
                <a:cs typeface="Arial" pitchFamily="34" charset="0"/>
              </a:rPr>
              <a:pPr defTabSz="844083">
                <a:defRPr/>
              </a:pPr>
              <a:t>‹#›</a:t>
            </a:fld>
            <a:endParaRPr lang="en-US" sz="1350" dirty="0">
              <a:solidFill>
                <a:prstClr val="white"/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2136175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2"/>
            <a:ext cx="9144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2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781324" y="164668"/>
            <a:ext cx="3980897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>
              <a:defRPr/>
            </a:pPr>
            <a:fld id="{7AA7B471-74A3-4F5F-8955-6C99E2375CAC}" type="slidenum">
              <a:rPr lang="en-US" sz="1050">
                <a:solidFill>
                  <a:prstClr val="white">
                    <a:lumMod val="50000"/>
                  </a:prstClr>
                </a:solidFill>
                <a:latin typeface="Arial Narrow"/>
                <a:cs typeface="Arial" pitchFamily="34" charset="0"/>
              </a:rPr>
              <a:pPr defTabSz="844083">
                <a:defRPr/>
              </a:pPr>
              <a:t>‹#›</a:t>
            </a:fld>
            <a:endParaRPr lang="en-US" sz="1050" dirty="0">
              <a:solidFill>
                <a:prstClr val="white">
                  <a:lumMod val="50000"/>
                </a:prstClr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52634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Location, date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1083323" y="6066000"/>
            <a:ext cx="7081476" cy="370800"/>
          </a:xfrm>
        </p:spPr>
        <p:txBody>
          <a:bodyPr vert="horz" wrap="square" lIns="28800" tIns="0" rIns="0" bIns="0" rtlCol="0" anchor="b" anchorCtr="0">
            <a:noAutofit/>
          </a:bodyPr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1569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marL="0" marR="0" lvl="0" indent="0" algn="l" defTabSz="844083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cation, date of presentation (month, day, year)</a:t>
            </a:r>
            <a:endParaRPr lang="en-US" dirty="0"/>
          </a:p>
        </p:txBody>
      </p:sp>
      <p:sp>
        <p:nvSpPr>
          <p:cNvPr id="5" name="Type of document"/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1083323" y="4566722"/>
            <a:ext cx="7081476" cy="654191"/>
          </a:xfrm>
        </p:spPr>
        <p:txBody>
          <a:bodyPr vert="horz" lIns="14400" tIns="0" rIns="0" bIns="216000" rtlCol="0" anchor="t" anchorCtr="0">
            <a:spAutoFit/>
          </a:bodyPr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3047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844083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ype of document</a:t>
            </a:r>
            <a:endParaRPr lang="en-US" dirty="0"/>
          </a:p>
        </p:txBody>
      </p:sp>
      <p:sp>
        <p:nvSpPr>
          <p:cNvPr id="6" name="Project name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083323" y="3749517"/>
            <a:ext cx="7081476" cy="752835"/>
          </a:xfrm>
        </p:spPr>
        <p:txBody>
          <a:bodyPr vert="horz" lIns="0" tIns="0" rIns="0" bIns="0" rtlCol="0" anchor="b" anchorCtr="0">
            <a:spAutoFit/>
          </a:bodyPr>
          <a:lstStyle>
            <a:lvl1pPr algn="l">
              <a:lnSpc>
                <a:spcPct val="93000"/>
              </a:lnSpc>
              <a:spcBef>
                <a:spcPts val="0"/>
              </a:spcBef>
              <a:defRPr kumimoji="0" lang="en-US" sz="4892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4" name="Slide Number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781324" y="164668"/>
            <a:ext cx="3980897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>
              <a:defRPr/>
            </a:pPr>
            <a:fld id="{7AA7B471-74A3-4F5F-8955-6C99E2375CAC}" type="slidenum">
              <a:rPr lang="en-US" sz="1350">
                <a:solidFill>
                  <a:prstClr val="white">
                    <a:lumMod val="50000"/>
                  </a:prstClr>
                </a:solidFill>
                <a:latin typeface="Arial Narrow"/>
                <a:cs typeface="Arial" pitchFamily="34" charset="0"/>
              </a:rPr>
              <a:pPr defTabSz="844083">
                <a:defRPr/>
              </a:pPr>
              <a:t>‹#›</a:t>
            </a:fld>
            <a:endParaRPr lang="en-US" sz="1350" dirty="0">
              <a:solidFill>
                <a:prstClr val="white">
                  <a:lumMod val="50000"/>
                </a:prstClr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77877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/>
          <p:cNvGrpSpPr/>
          <p:nvPr userDrawn="1"/>
        </p:nvGrpSpPr>
        <p:grpSpPr>
          <a:xfrm>
            <a:off x="-36873" y="-47003"/>
            <a:ext cx="9188615" cy="846767"/>
            <a:chOff x="-49164" y="-47003"/>
            <a:chExt cx="12251487" cy="846767"/>
          </a:xfrm>
        </p:grpSpPr>
        <p:sp>
          <p:nvSpPr>
            <p:cNvPr id="3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32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33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 dirty="0">
                <a:solidFill>
                  <a:prstClr val="black"/>
                </a:solidFill>
                <a:cs typeface="+mn-cs"/>
              </a:endParaRPr>
            </a:p>
          </p:txBody>
        </p:sp>
      </p:grpSp>
      <p:sp>
        <p:nvSpPr>
          <p:cNvPr id="9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0825"/>
            <a:ext cx="9144000" cy="2667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2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2" name="Slide Number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663354" y="6718300"/>
            <a:ext cx="105798" cy="127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>
              <a:defRPr/>
            </a:pPr>
            <a:fld id="{7AA7B471-74A3-4F5F-8955-6C99E2375CAC}" type="slidenum">
              <a:rPr lang="en-US" sz="831">
                <a:solidFill>
                  <a:prstClr val="black"/>
                </a:solidFill>
                <a:latin typeface="Arial Narrow"/>
                <a:cs typeface="Arial" pitchFamily="34" charset="0"/>
              </a:rPr>
              <a:pPr defTabSz="844083">
                <a:defRPr/>
              </a:pPr>
              <a:t>‹#›</a:t>
            </a:fld>
            <a:endParaRPr lang="en-US" sz="831" dirty="0">
              <a:solidFill>
                <a:prstClr val="black"/>
              </a:solidFill>
              <a:latin typeface="Arial Narrow"/>
              <a:cs typeface="Arial" pitchFamily="34" charset="0"/>
            </a:endParaRPr>
          </a:p>
        </p:txBody>
      </p:sp>
      <p:sp>
        <p:nvSpPr>
          <p:cNvPr id="56" name="Slide Number Line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8556381" y="6734177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677106" y="1996523"/>
            <a:ext cx="7883672" cy="3190104"/>
          </a:xfrm>
        </p:spPr>
        <p:txBody>
          <a:bodyPr>
            <a:spAutoFit/>
          </a:bodyPr>
          <a:lstStyle>
            <a:lvl1pPr marL="332316" indent="-332316">
              <a:spcBef>
                <a:spcPts val="1847"/>
              </a:spcBef>
              <a:tabLst>
                <a:tab pos="7866381" algn="r"/>
              </a:tabLst>
              <a:defRPr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664632" indent="-332316">
              <a:spcBef>
                <a:spcPts val="554"/>
              </a:spcBef>
              <a:buNone/>
              <a:tabLst>
                <a:tab pos="7866381" algn="r"/>
              </a:tabLst>
              <a:defRPr b="0">
                <a:solidFill>
                  <a:schemeClr val="tx1"/>
                </a:solidFill>
              </a:defRPr>
            </a:lvl2pPr>
            <a:lvl3pPr marL="1163106" indent="-498474">
              <a:spcBef>
                <a:spcPts val="0"/>
              </a:spcBef>
              <a:buNone/>
              <a:tabLst>
                <a:tab pos="7866381" algn="r"/>
              </a:tabLst>
              <a:defRPr>
                <a:solidFill>
                  <a:schemeClr val="tx1"/>
                </a:solidFill>
              </a:defRPr>
            </a:lvl3pPr>
            <a:lvl4pPr marL="1159149" indent="-493847">
              <a:buNone/>
              <a:tabLst>
                <a:tab pos="7866381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A.	xxx	xx</a:t>
            </a:r>
          </a:p>
          <a:p>
            <a:pPr lvl="0"/>
            <a:r>
              <a:rPr lang="en-US" dirty="0" smtClean="0"/>
              <a:t>B.	xxx	xx</a:t>
            </a:r>
          </a:p>
          <a:p>
            <a:pPr lvl="1"/>
            <a:r>
              <a:rPr lang="en-US" dirty="0" smtClean="0"/>
              <a:t>1.	xxx	xx</a:t>
            </a:r>
          </a:p>
          <a:p>
            <a:pPr lvl="1"/>
            <a:r>
              <a:rPr lang="en-US" dirty="0" smtClean="0"/>
              <a:t>2.	xxx	xx</a:t>
            </a:r>
          </a:p>
          <a:p>
            <a:pPr lvl="2"/>
            <a:r>
              <a:rPr lang="en-US" dirty="0" smtClean="0"/>
              <a:t>2.1	xxx	xx</a:t>
            </a:r>
          </a:p>
          <a:p>
            <a:pPr lvl="2"/>
            <a:r>
              <a:rPr lang="en-US" dirty="0" smtClean="0"/>
              <a:t>2.2	xxx	xx</a:t>
            </a:r>
          </a:p>
          <a:p>
            <a:pPr lvl="0"/>
            <a:r>
              <a:rPr lang="en-US" dirty="0" smtClean="0"/>
              <a:t>C.	xxx	xx</a:t>
            </a:r>
          </a:p>
          <a:p>
            <a:pPr lvl="1"/>
            <a:r>
              <a:rPr lang="en-US" dirty="0" smtClean="0"/>
              <a:t>1.	xxx	xx</a:t>
            </a:r>
          </a:p>
          <a:p>
            <a:pPr lvl="2"/>
            <a:r>
              <a:rPr lang="en-US" dirty="0" smtClean="0"/>
              <a:t>1.1	xxx	xx</a:t>
            </a:r>
          </a:p>
        </p:txBody>
      </p:sp>
      <p:sp>
        <p:nvSpPr>
          <p:cNvPr id="10" name="Contents Title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77105" y="857851"/>
            <a:ext cx="7886603" cy="356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defTabSz="844083" fontAlgn="auto">
              <a:spcAft>
                <a:spcPts val="0"/>
              </a:spcAft>
              <a:tabLst>
                <a:tab pos="7869312" algn="r"/>
              </a:tabLst>
              <a:defRPr/>
            </a:pPr>
            <a:r>
              <a:rPr lang="ru-RU" altLang="de-DE" sz="2492" b="1" dirty="0" smtClean="0">
                <a:solidFill>
                  <a:srgbClr val="B12726"/>
                </a:solidFill>
                <a:latin typeface="Arial Narrow"/>
                <a:cs typeface="Arial" pitchFamily="34" charset="0"/>
              </a:rPr>
              <a:t>Оглавление</a:t>
            </a:r>
            <a:r>
              <a:rPr lang="en-US" altLang="de-DE" sz="2492" b="1" dirty="0" smtClean="0">
                <a:solidFill>
                  <a:srgbClr val="B12726"/>
                </a:solidFill>
                <a:latin typeface="Arial Narrow"/>
                <a:cs typeface="Arial" pitchFamily="34" charset="0"/>
              </a:rPr>
              <a:t>	</a:t>
            </a:r>
            <a:endParaRPr lang="en-US" altLang="de-DE" sz="2492" b="1" dirty="0">
              <a:solidFill>
                <a:srgbClr val="B12726"/>
              </a:solidFill>
              <a:latin typeface="Arial Narrow"/>
              <a:cs typeface="Arial" pitchFamily="34" charset="0"/>
            </a:endParaRPr>
          </a:p>
        </p:txBody>
      </p:sp>
      <p:sp>
        <p:nvSpPr>
          <p:cNvPr id="35" name="Slide Number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8562594" y="117968"/>
            <a:ext cx="3980897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>
              <a:defRPr/>
            </a:pPr>
            <a:fld id="{7AA7B471-74A3-4F5F-8955-6C99E2375CAC}" type="slidenum">
              <a:rPr lang="en-US" sz="1350">
                <a:solidFill>
                  <a:prstClr val="white"/>
                </a:solidFill>
                <a:latin typeface="Arial Narrow"/>
                <a:cs typeface="Arial" pitchFamily="34" charset="0"/>
              </a:rPr>
              <a:pPr defTabSz="844083">
                <a:defRPr/>
              </a:pPr>
              <a:t>‹#›</a:t>
            </a:fld>
            <a:endParaRPr lang="en-US" sz="1350" dirty="0">
              <a:solidFill>
                <a:prstClr val="white"/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51048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1D735E-55E9-44D4-B48D-AA02D13053A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5773252"/>
      </p:ext>
    </p:extLst>
  </p:cSld>
  <p:clrMapOvr>
    <a:masterClrMapping/>
  </p:clrMapOvr>
  <p:transition>
    <p:wipe dir="r"/>
  </p:transition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Position Lines"/>
          <p:cNvGrpSpPr/>
          <p:nvPr/>
        </p:nvGrpSpPr>
        <p:grpSpPr>
          <a:xfrm>
            <a:off x="680333" y="6886575"/>
            <a:ext cx="422928" cy="72000"/>
            <a:chOff x="737028" y="6886575"/>
            <a:chExt cx="458172" cy="72000"/>
          </a:xfrm>
        </p:grpSpPr>
        <p:sp>
          <p:nvSpPr>
            <p:cNvPr id="10" name="Line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737028" y="6886575"/>
              <a:ext cx="0" cy="72000"/>
            </a:xfrm>
            <a:prstGeom prst="line">
              <a:avLst/>
            </a:prstGeom>
            <a:noFill/>
            <a:ln w="158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1200" b="1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11" name="Line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195200" y="6886575"/>
              <a:ext cx="0" cy="72000"/>
            </a:xfrm>
            <a:prstGeom prst="line">
              <a:avLst/>
            </a:prstGeom>
            <a:noFill/>
            <a:ln w="31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1200" b="1" dirty="0">
                <a:solidFill>
                  <a:prstClr val="black"/>
                </a:solidFill>
                <a:cs typeface="+mn-cs"/>
              </a:endParaRPr>
            </a:p>
          </p:txBody>
        </p:sp>
      </p:grpSp>
      <p:sp>
        <p:nvSpPr>
          <p:cNvPr id="13" name="Rectangle 12"/>
          <p:cNvSpPr/>
          <p:nvPr>
            <p:custDataLst>
              <p:tags r:id="rId1"/>
            </p:custDataLst>
          </p:nvPr>
        </p:nvSpPr>
        <p:spPr>
          <a:xfrm>
            <a:off x="0" y="2"/>
            <a:ext cx="9144000" cy="4445793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4" name="Rectangle 13"/>
          <p:cNvSpPr/>
          <p:nvPr>
            <p:custDataLst>
              <p:tags r:id="rId2"/>
            </p:custDataLst>
          </p:nvPr>
        </p:nvSpPr>
        <p:spPr>
          <a:xfrm>
            <a:off x="0" y="4448177"/>
            <a:ext cx="9144000" cy="2409825"/>
          </a:xfrm>
          <a:prstGeom prst="rect">
            <a:avLst/>
          </a:prstGeom>
          <a:solidFill>
            <a:schemeClr val="accent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dirty="0">
              <a:solidFill>
                <a:prstClr val="black"/>
              </a:solidFill>
              <a:cs typeface="Arial Narrow" pitchFamily="34" charset="0"/>
            </a:endParaRPr>
          </a:p>
        </p:txBody>
      </p:sp>
      <p:sp>
        <p:nvSpPr>
          <p:cNvPr id="15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-2199" y="4448175"/>
            <a:ext cx="9146198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endParaRPr lang="en-US" sz="1200" b="1" dirty="0">
              <a:solidFill>
                <a:prstClr val="black"/>
              </a:solidFill>
              <a:cs typeface="+mn-cs"/>
            </a:endParaRPr>
          </a:p>
        </p:txBody>
      </p:sp>
      <p:sp>
        <p:nvSpPr>
          <p:cNvPr id="53" name="Line 4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680333" y="0"/>
            <a:ext cx="0" cy="6861562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200" b="1" dirty="0">
              <a:solidFill>
                <a:prstClr val="black"/>
              </a:solidFill>
              <a:cs typeface="+mn-cs"/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1135501" y="3904800"/>
            <a:ext cx="7453120" cy="538394"/>
          </a:xfrm>
        </p:spPr>
        <p:txBody>
          <a:bodyPr vert="horz" wrap="square" lIns="0" tIns="0" rIns="0" bIns="180000" rtlCol="0" anchor="b" anchorCtr="0">
            <a:spAutoFit/>
          </a:bodyPr>
          <a:lstStyle>
            <a:lvl1pPr marL="501174" indent="-501174" algn="l" defTabSz="332316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>
                <a:tab pos="742969" algn="l"/>
              </a:tabLst>
              <a:defRPr kumimoji="0" lang="en-US" sz="2492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501174" marR="0" lvl="0" indent="-501174" algn="l" defTabSz="332316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42969" algn="l"/>
              </a:tabLst>
              <a:defRPr/>
            </a:pPr>
            <a:r>
              <a:rPr lang="en-US" dirty="0" smtClean="0"/>
              <a:t>A.    Click to edit text</a:t>
            </a:r>
            <a:endParaRPr lang="en-US" dirty="0"/>
          </a:p>
        </p:txBody>
      </p:sp>
      <p:sp>
        <p:nvSpPr>
          <p:cNvPr id="22" name="Slide Number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8781324" y="164668"/>
            <a:ext cx="3980897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>
              <a:defRPr/>
            </a:pPr>
            <a:fld id="{7AA7B471-74A3-4F5F-8955-6C99E2375CAC}" type="slidenum">
              <a:rPr lang="en-US" sz="1050">
                <a:solidFill>
                  <a:prstClr val="white"/>
                </a:solidFill>
                <a:latin typeface="Arial Narrow"/>
                <a:cs typeface="Arial" pitchFamily="34" charset="0"/>
              </a:rPr>
              <a:pPr defTabSz="844083">
                <a:defRPr/>
              </a:pPr>
              <a:t>‹#›</a:t>
            </a:fld>
            <a:endParaRPr lang="en-US" sz="1050" dirty="0">
              <a:solidFill>
                <a:prstClr val="white"/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21438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781324" y="164668"/>
            <a:ext cx="3980897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>
              <a:defRPr/>
            </a:pPr>
            <a:fld id="{7AA7B471-74A3-4F5F-8955-6C99E2375CAC}" type="slidenum">
              <a:rPr lang="en-US" sz="1350">
                <a:solidFill>
                  <a:prstClr val="white">
                    <a:lumMod val="50000"/>
                  </a:prstClr>
                </a:solidFill>
                <a:latin typeface="Arial Narrow"/>
                <a:cs typeface="Arial" pitchFamily="34" charset="0"/>
              </a:rPr>
              <a:pPr defTabSz="844083">
                <a:defRPr/>
              </a:pPr>
              <a:t>‹#›</a:t>
            </a:fld>
            <a:endParaRPr lang="en-US" sz="1050" dirty="0">
              <a:solidFill>
                <a:prstClr val="white">
                  <a:lumMod val="50000"/>
                </a:prstClr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595230"/>
      </p:ext>
    </p:extLst>
  </p:cSld>
  <p:clrMapOvr>
    <a:masterClrMapping/>
  </p:clrMapOvr>
  <p:hf hdr="0" dt="0"/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2"/>
            <a:ext cx="9144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endParaRPr lang="de-DE" sz="1200" dirty="0">
              <a:solidFill>
                <a:prstClr val="black"/>
              </a:solidFill>
              <a:cs typeface="Arial Narrow" pitchFamily="34" charset="0"/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781324" y="164668"/>
            <a:ext cx="3980897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>
              <a:defRPr/>
            </a:pPr>
            <a:fld id="{7AA7B471-74A3-4F5F-8955-6C99E2375CAC}" type="slidenum">
              <a:rPr lang="en-US" sz="1350">
                <a:solidFill>
                  <a:prstClr val="white">
                    <a:lumMod val="50000"/>
                  </a:prstClr>
                </a:solidFill>
                <a:latin typeface="Arial Narrow"/>
                <a:cs typeface="Arial" pitchFamily="34" charset="0"/>
              </a:rPr>
              <a:pPr defTabSz="844083">
                <a:defRPr/>
              </a:pPr>
              <a:t>‹#›</a:t>
            </a:fld>
            <a:endParaRPr lang="en-US" sz="1350" dirty="0">
              <a:solidFill>
                <a:prstClr val="white">
                  <a:lumMod val="50000"/>
                </a:prstClr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46816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317DF-D54F-412E-8D76-33A3D85FCA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7302787"/>
      </p:ext>
    </p:extLst>
  </p:cSld>
  <p:clrMapOvr>
    <a:masterClrMapping/>
  </p:clrMapOvr>
  <p:transition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CD2196-1E57-4B5D-BF15-4BE54740DF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5479069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A76F99-9194-4CB9-ADAD-295B458615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3077013"/>
      </p:ext>
    </p:extLst>
  </p:cSld>
  <p:clrMapOvr>
    <a:masterClrMapping/>
  </p:clrMapOvr>
  <p:transition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DAA7BB-87EA-4C7F-95C8-893AF9CCD90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5031800"/>
      </p:ext>
    </p:extLst>
  </p:cSld>
  <p:clrMapOvr>
    <a:masterClrMapping/>
  </p:clrMapOvr>
  <p:transition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D0DF68-C126-43F0-8F23-95EB8C474D0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4307708"/>
      </p:ext>
    </p:extLst>
  </p:cSld>
  <p:clrMapOvr>
    <a:masterClrMapping/>
  </p:clrMapOvr>
  <p:transition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F8BE6A-AD38-4490-BB8D-A0E5D6C06DD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0126511"/>
      </p:ext>
    </p:extLst>
  </p:cSld>
  <p:clrMapOvr>
    <a:masterClrMapping/>
  </p:clrMapOvr>
  <p:transition>
    <p:wipe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7008BE-3434-4580-BC70-56815B0C35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8622771"/>
      </p:ext>
    </p:extLst>
  </p:cSld>
  <p:clrMapOvr>
    <a:masterClrMapping/>
  </p:clrMapOvr>
  <p:transition>
    <p:wipe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FB55EC-9341-4556-B7FB-9B7CB59D9E3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8074646"/>
      </p:ext>
    </p:extLst>
  </p:cSld>
  <p:clrMapOvr>
    <a:masterClrMapping/>
  </p:clrMapOvr>
  <p:transition>
    <p:wipe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C66B76-4EBB-4718-AEC1-11078ECBFC9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2555723"/>
      </p:ext>
    </p:extLst>
  </p:cSld>
  <p:clrMapOvr>
    <a:masterClrMapping/>
  </p:clrMapOvr>
  <p:transition>
    <p:wipe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ACC909-49B6-4FDD-8B02-D3A671C4A6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2089468"/>
      </p:ext>
    </p:extLst>
  </p:cSld>
  <p:clrMapOvr>
    <a:masterClrMapping/>
  </p:clrMapOvr>
  <p:transition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  <p:sp>
        <p:nvSpPr>
          <p:cNvPr id="6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705475" y="1076325"/>
            <a:ext cx="360363" cy="360363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navigation2">
            <a:hlinkClick r:id="rId6" action="ppaction://hlinksldjump"/>
          </p:cNvPr>
          <p:cNvSpPr>
            <a:spLocks noChangeArrowheads="1"/>
          </p:cNvSpPr>
          <p:nvPr userDrawn="1"/>
        </p:nvSpPr>
        <p:spPr bwMode="auto">
          <a:xfrm>
            <a:off x="6069013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navigation3">
            <a:hlinkClick r:id="rId7" action="ppaction://hlinksldjump"/>
          </p:cNvPr>
          <p:cNvSpPr>
            <a:spLocks noChangeArrowheads="1"/>
          </p:cNvSpPr>
          <p:nvPr userDrawn="1"/>
        </p:nvSpPr>
        <p:spPr bwMode="auto">
          <a:xfrm>
            <a:off x="6432550" y="1076325"/>
            <a:ext cx="360363" cy="360363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hlink"/>
                </a:solidFill>
              </a:rPr>
              <a:t>3</a:t>
            </a:r>
          </a:p>
        </p:txBody>
      </p:sp>
      <p:sp>
        <p:nvSpPr>
          <p:cNvPr id="9" name="navigation4">
            <a:hlinkClick r:id="rId8" action="ppaction://hlinksldjump"/>
          </p:cNvPr>
          <p:cNvSpPr>
            <a:spLocks noChangeArrowheads="1"/>
          </p:cNvSpPr>
          <p:nvPr userDrawn="1"/>
        </p:nvSpPr>
        <p:spPr bwMode="auto">
          <a:xfrm>
            <a:off x="6796088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5962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1" name="navigation6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247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054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054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97742265"/>
      </p:ext>
    </p:extLst>
  </p:cSld>
  <p:clrMapOvr>
    <a:masterClrMapping/>
  </p:clrMapOvr>
  <p:transition>
    <p:split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05D1BC-4A6F-4083-BA5D-9BD5FCBBB8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1045593"/>
      </p:ext>
    </p:extLst>
  </p:cSld>
  <p:clrMapOvr>
    <a:masterClrMapping/>
  </p:clrMapOvr>
  <p:transition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2C8226-D51D-414A-80B2-4096BC695B4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4399462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8D5F5F-4577-46E1-B151-BBF89DDE3EC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6676871"/>
      </p:ext>
    </p:extLst>
  </p:cSld>
  <p:clrMapOvr>
    <a:masterClrMapping/>
  </p:clrMapOvr>
  <p:transition>
    <p:wipe dir="r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C7D027-BFC7-4EE1-AFBB-F5B390A009E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0049104"/>
      </p:ext>
    </p:extLst>
  </p:cSld>
  <p:clrMapOvr>
    <a:masterClrMapping/>
  </p:clrMapOvr>
  <p:transition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EF2D47-47C5-4C34-9104-617E9921F92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5760331"/>
      </p:ext>
    </p:extLst>
  </p:cSld>
  <p:clrMapOvr>
    <a:masterClrMapping/>
  </p:clrMapOvr>
  <p:transition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90A656-8632-4D91-95B4-FC7673B7E31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6151973"/>
      </p:ext>
    </p:extLst>
  </p:cSld>
  <p:clrMapOvr>
    <a:masterClrMapping/>
  </p:clrMapOvr>
  <p:transition>
    <p:wipe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BDA181-BB95-4930-AD1A-709A2B8716A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3991193"/>
      </p:ext>
    </p:extLst>
  </p:cSld>
  <p:clrMapOvr>
    <a:masterClrMapping/>
  </p:clrMapOvr>
  <p:transition>
    <p:wipe dir="r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9C1118-3BD9-4D41-BE86-D1D4EC5B53E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4349963"/>
      </p:ext>
    </p:extLst>
  </p:cSld>
  <p:clrMapOvr>
    <a:masterClrMapping/>
  </p:clrMapOvr>
  <p:transition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47F8D3-2F55-4090-A40B-F908477F6E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3216358"/>
      </p:ext>
    </p:extLst>
  </p:cSld>
  <p:clrMapOvr>
    <a:masterClrMapping/>
  </p:clrMapOvr>
  <p:transition>
    <p:wipe dir="r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6FBC3F-F2C5-4715-9723-2339432C9D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2729212"/>
      </p:ext>
    </p:extLst>
  </p:cSld>
  <p:clrMapOvr>
    <a:masterClrMapping/>
  </p:clrMapOvr>
  <p:transition>
    <p:wipe dir="r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63375E-E9BC-43B4-A83D-ABD7B21D5BB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3121076"/>
      </p:ext>
    </p:extLst>
  </p:cSld>
  <p:clrMapOvr>
    <a:masterClrMapping/>
  </p:clrMapOvr>
  <p:transition>
    <p:wipe dir="r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  <p:sp>
        <p:nvSpPr>
          <p:cNvPr id="6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705475" y="1076325"/>
            <a:ext cx="360363" cy="360363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navigation2">
            <a:hlinkClick r:id="rId6" action="ppaction://hlinksldjump"/>
          </p:cNvPr>
          <p:cNvSpPr>
            <a:spLocks noChangeArrowheads="1"/>
          </p:cNvSpPr>
          <p:nvPr userDrawn="1"/>
        </p:nvSpPr>
        <p:spPr bwMode="auto">
          <a:xfrm>
            <a:off x="6069013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navigation3">
            <a:hlinkClick r:id="rId7" action="ppaction://hlinksldjump"/>
          </p:cNvPr>
          <p:cNvSpPr>
            <a:spLocks noChangeArrowheads="1"/>
          </p:cNvSpPr>
          <p:nvPr userDrawn="1"/>
        </p:nvSpPr>
        <p:spPr bwMode="auto">
          <a:xfrm>
            <a:off x="64325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" name="navigation4">
            <a:hlinkClick r:id="rId8" action="ppaction://hlinksldjump"/>
          </p:cNvPr>
          <p:cNvSpPr>
            <a:spLocks noChangeArrowheads="1"/>
          </p:cNvSpPr>
          <p:nvPr userDrawn="1"/>
        </p:nvSpPr>
        <p:spPr bwMode="auto">
          <a:xfrm>
            <a:off x="6796088" y="1076325"/>
            <a:ext cx="360362" cy="360363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hlink"/>
                </a:solidFill>
              </a:rPr>
              <a:t>4</a:t>
            </a:r>
          </a:p>
        </p:txBody>
      </p:sp>
      <p:sp>
        <p:nvSpPr>
          <p:cNvPr id="1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5962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1" name="navigation6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247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0752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075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56747909"/>
      </p:ext>
    </p:extLst>
  </p:cSld>
  <p:clrMapOvr>
    <a:masterClrMapping/>
  </p:clrMapOvr>
  <p:transition>
    <p:split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6C9ACC-71F1-4526-9417-3866995DFE1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2491397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60FCCF-9C1D-4D6D-BADA-FC0E6B116EE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2147046"/>
      </p:ext>
    </p:extLst>
  </p:cSld>
  <p:clrMapOvr>
    <a:masterClrMapping/>
  </p:clrMapOvr>
  <p:transition>
    <p:wipe dir="r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CA5B59-2AE6-4DB6-AF3C-5C17912E6BE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8970534"/>
      </p:ext>
    </p:extLst>
  </p:cSld>
  <p:clrMapOvr>
    <a:masterClrMapping/>
  </p:clrMapOvr>
  <p:transition>
    <p:wipe dir="r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CF2400-F984-4540-8B1E-4B00480167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3393501"/>
      </p:ext>
    </p:extLst>
  </p:cSld>
  <p:clrMapOvr>
    <a:masterClrMapping/>
  </p:clrMapOvr>
  <p:transition>
    <p:wipe dir="r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670FA9-7A11-4304-8F40-BADCFA837B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5139781"/>
      </p:ext>
    </p:extLst>
  </p:cSld>
  <p:clrMapOvr>
    <a:masterClrMapping/>
  </p:clrMapOvr>
  <p:transition>
    <p:wipe dir="r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C44E10-E91A-4226-9B72-67A76690D9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4256315"/>
      </p:ext>
    </p:extLst>
  </p:cSld>
  <p:clrMapOvr>
    <a:masterClrMapping/>
  </p:clrMapOvr>
  <p:transition>
    <p:wipe dir="r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0BD063-CE1D-4084-BC8E-DDB1FCE79F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7511600"/>
      </p:ext>
    </p:extLst>
  </p:cSld>
  <p:clrMapOvr>
    <a:masterClrMapping/>
  </p:clrMapOvr>
  <p:transition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E6ED34-269A-4758-88AC-42E6C399DD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7052327"/>
      </p:ext>
    </p:extLst>
  </p:cSld>
  <p:clrMapOvr>
    <a:masterClrMapping/>
  </p:clrMapOvr>
  <p:transition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3CB7C2-15E7-426D-A98B-0198CB7CF25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4492994"/>
      </p:ext>
    </p:extLst>
  </p:cSld>
  <p:clrMapOvr>
    <a:masterClrMapping/>
  </p:clrMapOvr>
  <p:transition>
    <p:wipe dir="r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01AF2-652C-4BBF-93F1-C8980644A72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9714625"/>
      </p:ext>
    </p:extLst>
  </p:cSld>
  <p:clrMapOvr>
    <a:masterClrMapping/>
  </p:clrMapOvr>
  <p:transition>
    <p:wipe dir="r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4179CA-0E25-40B8-BF02-1B5B43D0DBD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3241338"/>
      </p:ext>
    </p:extLst>
  </p:cSld>
  <p:clrMapOvr>
    <a:masterClrMapping/>
  </p:clrMapOvr>
  <p:transition>
    <p:wipe dir="r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  <p:sp>
        <p:nvSpPr>
          <p:cNvPr id="6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705475" y="1076325"/>
            <a:ext cx="360363" cy="360363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navigation2">
            <a:hlinkClick r:id="rId6" action="ppaction://hlinksldjump"/>
          </p:cNvPr>
          <p:cNvSpPr>
            <a:spLocks noChangeArrowheads="1"/>
          </p:cNvSpPr>
          <p:nvPr userDrawn="1"/>
        </p:nvSpPr>
        <p:spPr bwMode="auto">
          <a:xfrm>
            <a:off x="6069013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navigation3">
            <a:hlinkClick r:id="rId7" action="ppaction://hlinksldjump"/>
          </p:cNvPr>
          <p:cNvSpPr>
            <a:spLocks noChangeArrowheads="1"/>
          </p:cNvSpPr>
          <p:nvPr userDrawn="1"/>
        </p:nvSpPr>
        <p:spPr bwMode="auto">
          <a:xfrm>
            <a:off x="64325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" name="navigation4">
            <a:hlinkClick r:id="rId8" action="ppaction://hlinksldjump"/>
          </p:cNvPr>
          <p:cNvSpPr>
            <a:spLocks noChangeArrowheads="1"/>
          </p:cNvSpPr>
          <p:nvPr userDrawn="1"/>
        </p:nvSpPr>
        <p:spPr bwMode="auto">
          <a:xfrm>
            <a:off x="6796088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59625" y="1076325"/>
            <a:ext cx="360363" cy="360363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hlink"/>
                </a:solidFill>
              </a:rPr>
              <a:t>5</a:t>
            </a:r>
          </a:p>
        </p:txBody>
      </p:sp>
      <p:sp>
        <p:nvSpPr>
          <p:cNvPr id="11" name="navigation6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247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09570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28324025"/>
      </p:ext>
    </p:extLst>
  </p:cSld>
  <p:clrMapOvr>
    <a:masterClrMapping/>
  </p:clrMapOvr>
  <p:transition>
    <p:split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1E896F-A36E-4E3C-8D13-DA0FAF55583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7931649"/>
      </p:ext>
    </p:extLst>
  </p:cSld>
  <p:clrMapOvr>
    <a:masterClrMapping/>
  </p:clrMapOvr>
  <p:transition>
    <p:wipe dir="r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D762DD-F412-47B2-970B-16EABDACA68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803938"/>
      </p:ext>
    </p:extLst>
  </p:cSld>
  <p:clrMapOvr>
    <a:masterClrMapping/>
  </p:clrMapOvr>
  <p:transition>
    <p:wipe dir="r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9CF69-DDD0-4C41-AC9C-B3336D554B3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6135506"/>
      </p:ext>
    </p:extLst>
  </p:cSld>
  <p:clrMapOvr>
    <a:masterClrMapping/>
  </p:clrMapOvr>
  <p:transition>
    <p:wipe dir="r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B44B9D-1F3D-45BB-AF81-DCCF53482D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658559"/>
      </p:ext>
    </p:extLst>
  </p:cSld>
  <p:clrMapOvr>
    <a:masterClrMapping/>
  </p:clrMapOvr>
  <p:transition>
    <p:wipe dir="r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1E31E9-EDCF-4EC1-8D78-F981C266BD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335910"/>
      </p:ext>
    </p:extLst>
  </p:cSld>
  <p:clrMapOvr>
    <a:masterClrMapping/>
  </p:clrMapOvr>
  <p:transition>
    <p:wipe dir="r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32EF59-90AE-40AE-8A9D-935DC2EAD06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0953286"/>
      </p:ext>
    </p:extLst>
  </p:cSld>
  <p:clrMapOvr>
    <a:masterClrMapping/>
  </p:clrMapOvr>
  <p:transition>
    <p:wipe dir="r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800DA7-BEE2-4370-8D08-53311058765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1717986"/>
      </p:ext>
    </p:extLst>
  </p:cSld>
  <p:clrMapOvr>
    <a:masterClrMapping/>
  </p:clrMapOvr>
  <p:transition>
    <p:wipe dir="r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4A9E53-C1C6-42E2-AB5F-05D923DFAA2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4521573"/>
      </p:ext>
    </p:extLst>
  </p:cSld>
  <p:clrMapOvr>
    <a:masterClrMapping/>
  </p:clrMapOvr>
  <p:transition>
    <p:wipe dir="r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A786AA-7C52-4E26-9968-63B9212CB1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4516227"/>
      </p:ext>
    </p:extLst>
  </p:cSld>
  <p:clrMapOvr>
    <a:masterClrMapping/>
  </p:clrMapOvr>
  <p:transition>
    <p:wipe dir="r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9715FA-C760-4E93-BA52-B8CC50D7857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9171478"/>
      </p:ext>
    </p:extLst>
  </p:cSld>
  <p:clrMapOvr>
    <a:masterClrMapping/>
  </p:clrMapOvr>
  <p:transition>
    <p:wipe dir="r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12C802-CC01-4A6A-8129-6DB6CA1328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6418138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09F2E6-01E3-4F2F-BA21-E6012B2C59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1731983"/>
      </p:ext>
    </p:extLst>
  </p:cSld>
  <p:clrMapOvr>
    <a:masterClrMapping/>
  </p:clrMapOvr>
  <p:transition>
    <p:wipe dir="r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  <p:sp>
        <p:nvSpPr>
          <p:cNvPr id="6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705475" y="1076325"/>
            <a:ext cx="360363" cy="360363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navigation2">
            <a:hlinkClick r:id="rId6" action="ppaction://hlinksldjump"/>
          </p:cNvPr>
          <p:cNvSpPr>
            <a:spLocks noChangeArrowheads="1"/>
          </p:cNvSpPr>
          <p:nvPr userDrawn="1"/>
        </p:nvSpPr>
        <p:spPr bwMode="auto">
          <a:xfrm>
            <a:off x="6069013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navigation3">
            <a:hlinkClick r:id="rId7" action="ppaction://hlinksldjump"/>
          </p:cNvPr>
          <p:cNvSpPr>
            <a:spLocks noChangeArrowheads="1"/>
          </p:cNvSpPr>
          <p:nvPr userDrawn="1"/>
        </p:nvSpPr>
        <p:spPr bwMode="auto">
          <a:xfrm>
            <a:off x="64325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" name="navigation4">
            <a:hlinkClick r:id="rId8" action="ppaction://hlinksldjump"/>
          </p:cNvPr>
          <p:cNvSpPr>
            <a:spLocks noChangeArrowheads="1"/>
          </p:cNvSpPr>
          <p:nvPr userDrawn="1"/>
        </p:nvSpPr>
        <p:spPr bwMode="auto">
          <a:xfrm>
            <a:off x="6796088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5962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1" name="navigation6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24750" y="1076325"/>
            <a:ext cx="360363" cy="360363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hlink"/>
                </a:solidFill>
              </a:rPr>
              <a:t>6</a:t>
            </a:r>
          </a:p>
        </p:txBody>
      </p:sp>
      <p:sp>
        <p:nvSpPr>
          <p:cNvPr id="1116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116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12990995"/>
      </p:ext>
    </p:extLst>
  </p:cSld>
  <p:clrMapOvr>
    <a:masterClrMapping/>
  </p:clrMapOvr>
  <p:transition>
    <p:split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75B7B3-8407-4706-96D6-106BA234832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863393"/>
      </p:ext>
    </p:extLst>
  </p:cSld>
  <p:clrMapOvr>
    <a:masterClrMapping/>
  </p:clrMapOvr>
  <p:transition>
    <p:wipe dir="r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DFE4F8-427B-4B99-AAD7-CA663A7E7EB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9622966"/>
      </p:ext>
    </p:extLst>
  </p:cSld>
  <p:clrMapOvr>
    <a:masterClrMapping/>
  </p:clrMapOvr>
  <p:transition>
    <p:wipe dir="r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71ACED-D43D-4883-80E9-56E8BBA71F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7135938"/>
      </p:ext>
    </p:extLst>
  </p:cSld>
  <p:clrMapOvr>
    <a:masterClrMapping/>
  </p:clrMapOvr>
  <p:transition>
    <p:wipe dir="r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93B36A-78EA-441F-9796-5661B965F4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3188311"/>
      </p:ext>
    </p:extLst>
  </p:cSld>
  <p:clrMapOvr>
    <a:masterClrMapping/>
  </p:clrMapOvr>
  <p:transition>
    <p:wipe dir="r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B60E74-DF23-48F2-BF3E-2F3007F6B0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4292922"/>
      </p:ext>
    </p:extLst>
  </p:cSld>
  <p:clrMapOvr>
    <a:masterClrMapping/>
  </p:clrMapOvr>
  <p:transition>
    <p:wipe dir="r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653C31-353A-4084-B290-CBCB444C6DF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3605284"/>
      </p:ext>
    </p:extLst>
  </p:cSld>
  <p:clrMapOvr>
    <a:masterClrMapping/>
  </p:clrMapOvr>
  <p:transition>
    <p:wipe dir="r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AED973-7CAF-4007-B49C-34B399B8F44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1454853"/>
      </p:ext>
    </p:extLst>
  </p:cSld>
  <p:clrMapOvr>
    <a:masterClrMapping/>
  </p:clrMapOvr>
  <p:transition>
    <p:wipe dir="r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9D10B2-8565-45B3-A123-64F390EF0E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9364938"/>
      </p:ext>
    </p:extLst>
  </p:cSld>
  <p:clrMapOvr>
    <a:masterClrMapping/>
  </p:clrMapOvr>
  <p:transition>
    <p:wipe dir="r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C9A01A-D80E-4644-B000-6DC6C7D03D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8427815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9C3936-7233-46AE-9218-0505E7E0089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6788205"/>
      </p:ext>
    </p:extLst>
  </p:cSld>
  <p:clrMapOvr>
    <a:masterClrMapping/>
  </p:clrMapOvr>
  <p:transition>
    <p:wipe dir="r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F45140-1333-4E29-A33E-9E1E88496BC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4943275"/>
      </p:ext>
    </p:extLst>
  </p:cSld>
  <p:clrMapOvr>
    <a:masterClrMapping/>
  </p:clrMapOvr>
  <p:transition>
    <p:wipe dir="r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23139938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3FB95C-9761-428B-B3E1-67F13D46F2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1000596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F2C9D6-CF22-40AF-B974-3332FD9817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6390596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2F651D-9095-4703-B58A-7CBB67CA93A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6766455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6E1C17-4EF1-4FCA-B367-94DB668496F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4515148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A210D8-D8BE-4DB2-BF59-FF73A52732E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6654333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4D0CF3-F411-44CE-ABA4-E1E5B55B998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241666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E9C1A8-EDFE-440E-8E49-CA4227630D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4729037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B31578-FCB1-4A0C-8A4C-368DD1950A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352199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hyperlink" Target="http://www.rosatom.ru/" TargetMode="Externa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image" Target="../media/image15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5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image" Target="../media/image15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2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image" Target="../media/image13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3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image" Target="../media/image13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5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53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image" Target="../media/image13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slideLayout" Target="../slideLayouts/slideLayout17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6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slideLayout" Target="../slideLayouts/slideLayout17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64.xml"/><Relationship Id="rId9" Type="http://schemas.openxmlformats.org/officeDocument/2006/relationships/slideLayout" Target="../slideLayouts/slideLayout169.xml"/><Relationship Id="rId14" Type="http://schemas.openxmlformats.org/officeDocument/2006/relationships/image" Target="../media/image13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7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image" Target="../media/image13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slideLayout" Target="../slideLayouts/slideLayout19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8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189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image" Target="../media/image13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0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9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201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image" Target="../media/image13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1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218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image" Target="../media/image1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hyperlink" Target="http://www.rosatom.ru/" TargetMode="Externa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theme" Target="../theme/theme20.xml"/><Relationship Id="rId3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2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225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230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image" Target="../media/image13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slideLayout" Target="../slideLayouts/slideLayout24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3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image" Target="../media/image13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2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247.xml"/><Relationship Id="rId7" Type="http://schemas.openxmlformats.org/officeDocument/2006/relationships/slideLayout" Target="../slideLayouts/slideLayout251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4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45.xml"/><Relationship Id="rId6" Type="http://schemas.openxmlformats.org/officeDocument/2006/relationships/slideLayout" Target="../slideLayouts/slideLayout250.xml"/><Relationship Id="rId11" Type="http://schemas.openxmlformats.org/officeDocument/2006/relationships/slideLayout" Target="../slideLayouts/slideLayout255.xml"/><Relationship Id="rId5" Type="http://schemas.openxmlformats.org/officeDocument/2006/relationships/slideLayout" Target="../slideLayouts/slideLayout24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54.xml"/><Relationship Id="rId4" Type="http://schemas.openxmlformats.org/officeDocument/2006/relationships/slideLayout" Target="../slideLayouts/slideLayout248.xml"/><Relationship Id="rId9" Type="http://schemas.openxmlformats.org/officeDocument/2006/relationships/slideLayout" Target="../slideLayouts/slideLayout253.xml"/><Relationship Id="rId14" Type="http://schemas.openxmlformats.org/officeDocument/2006/relationships/image" Target="../media/image14.pn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3.xml"/><Relationship Id="rId13" Type="http://schemas.openxmlformats.org/officeDocument/2006/relationships/slideLayout" Target="../slideLayouts/slideLayout268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58.xml"/><Relationship Id="rId7" Type="http://schemas.openxmlformats.org/officeDocument/2006/relationships/slideLayout" Target="../slideLayouts/slideLayout262.xml"/><Relationship Id="rId12" Type="http://schemas.openxmlformats.org/officeDocument/2006/relationships/slideLayout" Target="../slideLayouts/slideLayout267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57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256.xml"/><Relationship Id="rId6" Type="http://schemas.openxmlformats.org/officeDocument/2006/relationships/slideLayout" Target="../slideLayouts/slideLayout261.xml"/><Relationship Id="rId11" Type="http://schemas.openxmlformats.org/officeDocument/2006/relationships/slideLayout" Target="../slideLayouts/slideLayout266.xml"/><Relationship Id="rId5" Type="http://schemas.openxmlformats.org/officeDocument/2006/relationships/slideLayout" Target="../slideLayouts/slideLayout260.xml"/><Relationship Id="rId15" Type="http://schemas.openxmlformats.org/officeDocument/2006/relationships/image" Target="../media/image13.jpeg"/><Relationship Id="rId10" Type="http://schemas.openxmlformats.org/officeDocument/2006/relationships/slideLayout" Target="../slideLayouts/slideLayout265.xml"/><Relationship Id="rId4" Type="http://schemas.openxmlformats.org/officeDocument/2006/relationships/slideLayout" Target="../slideLayouts/slideLayout259.xml"/><Relationship Id="rId9" Type="http://schemas.openxmlformats.org/officeDocument/2006/relationships/slideLayout" Target="../slideLayouts/slideLayout264.xml"/><Relationship Id="rId1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6.xml"/><Relationship Id="rId13" Type="http://schemas.openxmlformats.org/officeDocument/2006/relationships/theme" Target="../theme/theme24.xml"/><Relationship Id="rId3" Type="http://schemas.openxmlformats.org/officeDocument/2006/relationships/slideLayout" Target="../slideLayouts/slideLayout271.xml"/><Relationship Id="rId7" Type="http://schemas.openxmlformats.org/officeDocument/2006/relationships/slideLayout" Target="../slideLayouts/slideLayout275.xml"/><Relationship Id="rId12" Type="http://schemas.openxmlformats.org/officeDocument/2006/relationships/slideLayout" Target="../slideLayouts/slideLayout28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7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69.xml"/><Relationship Id="rId6" Type="http://schemas.openxmlformats.org/officeDocument/2006/relationships/slideLayout" Target="../slideLayouts/slideLayout274.xml"/><Relationship Id="rId11" Type="http://schemas.openxmlformats.org/officeDocument/2006/relationships/slideLayout" Target="../slideLayouts/slideLayout279.xml"/><Relationship Id="rId5" Type="http://schemas.openxmlformats.org/officeDocument/2006/relationships/slideLayout" Target="../slideLayouts/slideLayout273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278.xml"/><Relationship Id="rId4" Type="http://schemas.openxmlformats.org/officeDocument/2006/relationships/slideLayout" Target="../slideLayouts/slideLayout272.xml"/><Relationship Id="rId9" Type="http://schemas.openxmlformats.org/officeDocument/2006/relationships/slideLayout" Target="../slideLayouts/slideLayout277.xml"/><Relationship Id="rId14" Type="http://schemas.openxmlformats.org/officeDocument/2006/relationships/image" Target="../media/image13.jpe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theme" Target="../theme/theme25.xml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slideLayout" Target="../slideLayouts/slideLayout29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8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slideLayout" Target="../slideLayouts/slideLayout291.xml"/><Relationship Id="rId5" Type="http://schemas.openxmlformats.org/officeDocument/2006/relationships/slideLayout" Target="../slideLayouts/slideLayout285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290.xml"/><Relationship Id="rId4" Type="http://schemas.openxmlformats.org/officeDocument/2006/relationships/slideLayout" Target="../slideLayouts/slideLayout284.xml"/><Relationship Id="rId9" Type="http://schemas.openxmlformats.org/officeDocument/2006/relationships/slideLayout" Target="../slideLayouts/slideLayout289.xml"/><Relationship Id="rId14" Type="http://schemas.openxmlformats.org/officeDocument/2006/relationships/image" Target="../media/image13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0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295.xml"/><Relationship Id="rId7" Type="http://schemas.openxmlformats.org/officeDocument/2006/relationships/slideLayout" Target="../slideLayouts/slideLayout299.xml"/><Relationship Id="rId12" Type="http://schemas.openxmlformats.org/officeDocument/2006/relationships/theme" Target="../theme/theme26.xml"/><Relationship Id="rId2" Type="http://schemas.openxmlformats.org/officeDocument/2006/relationships/slideLayout" Target="../slideLayouts/slideLayout29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93.xml"/><Relationship Id="rId6" Type="http://schemas.openxmlformats.org/officeDocument/2006/relationships/slideLayout" Target="../slideLayouts/slideLayout298.xml"/><Relationship Id="rId11" Type="http://schemas.openxmlformats.org/officeDocument/2006/relationships/slideLayout" Target="../slideLayouts/slideLayout303.xml"/><Relationship Id="rId5" Type="http://schemas.openxmlformats.org/officeDocument/2006/relationships/slideLayout" Target="../slideLayouts/slideLayout29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02.xml"/><Relationship Id="rId4" Type="http://schemas.openxmlformats.org/officeDocument/2006/relationships/slideLayout" Target="../slideLayouts/slideLayout296.xml"/><Relationship Id="rId9" Type="http://schemas.openxmlformats.org/officeDocument/2006/relationships/slideLayout" Target="../slideLayouts/slideLayout301.xml"/><Relationship Id="rId14" Type="http://schemas.openxmlformats.org/officeDocument/2006/relationships/image" Target="../media/image16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slideLayout" Target="../slideLayouts/slideLayout316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06.xml"/><Relationship Id="rId7" Type="http://schemas.openxmlformats.org/officeDocument/2006/relationships/slideLayout" Target="../slideLayouts/slideLayout310.xml"/><Relationship Id="rId12" Type="http://schemas.openxmlformats.org/officeDocument/2006/relationships/slideLayout" Target="../slideLayouts/slideLayout31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305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slideLayout" Target="../slideLayouts/slideLayout314.xml"/><Relationship Id="rId5" Type="http://schemas.openxmlformats.org/officeDocument/2006/relationships/slideLayout" Target="../slideLayouts/slideLayout308.xml"/><Relationship Id="rId15" Type="http://schemas.openxmlformats.org/officeDocument/2006/relationships/image" Target="../media/image13.jpeg"/><Relationship Id="rId10" Type="http://schemas.openxmlformats.org/officeDocument/2006/relationships/slideLayout" Target="../slideLayouts/slideLayout313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4.xml"/><Relationship Id="rId13" Type="http://schemas.openxmlformats.org/officeDocument/2006/relationships/theme" Target="../theme/theme28.xml"/><Relationship Id="rId3" Type="http://schemas.openxmlformats.org/officeDocument/2006/relationships/slideLayout" Target="../slideLayouts/slideLayout319.xml"/><Relationship Id="rId7" Type="http://schemas.openxmlformats.org/officeDocument/2006/relationships/slideLayout" Target="../slideLayouts/slideLayout323.xml"/><Relationship Id="rId12" Type="http://schemas.openxmlformats.org/officeDocument/2006/relationships/slideLayout" Target="../slideLayouts/slideLayout32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1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17.xml"/><Relationship Id="rId6" Type="http://schemas.openxmlformats.org/officeDocument/2006/relationships/slideLayout" Target="../slideLayouts/slideLayout322.xml"/><Relationship Id="rId11" Type="http://schemas.openxmlformats.org/officeDocument/2006/relationships/slideLayout" Target="../slideLayouts/slideLayout327.xml"/><Relationship Id="rId5" Type="http://schemas.openxmlformats.org/officeDocument/2006/relationships/slideLayout" Target="../slideLayouts/slideLayout321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326.xml"/><Relationship Id="rId4" Type="http://schemas.openxmlformats.org/officeDocument/2006/relationships/slideLayout" Target="../slideLayouts/slideLayout320.xml"/><Relationship Id="rId9" Type="http://schemas.openxmlformats.org/officeDocument/2006/relationships/slideLayout" Target="../slideLayouts/slideLayout325.xml"/><Relationship Id="rId14" Type="http://schemas.openxmlformats.org/officeDocument/2006/relationships/image" Target="../media/image13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6.xml"/><Relationship Id="rId13" Type="http://schemas.openxmlformats.org/officeDocument/2006/relationships/theme" Target="../theme/theme29.xml"/><Relationship Id="rId3" Type="http://schemas.openxmlformats.org/officeDocument/2006/relationships/slideLayout" Target="../slideLayouts/slideLayout331.xml"/><Relationship Id="rId7" Type="http://schemas.openxmlformats.org/officeDocument/2006/relationships/slideLayout" Target="../slideLayouts/slideLayout335.xml"/><Relationship Id="rId12" Type="http://schemas.openxmlformats.org/officeDocument/2006/relationships/slideLayout" Target="../slideLayouts/slideLayout34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3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29.xml"/><Relationship Id="rId6" Type="http://schemas.openxmlformats.org/officeDocument/2006/relationships/slideLayout" Target="../slideLayouts/slideLayout334.xml"/><Relationship Id="rId11" Type="http://schemas.openxmlformats.org/officeDocument/2006/relationships/slideLayout" Target="../slideLayouts/slideLayout339.xml"/><Relationship Id="rId5" Type="http://schemas.openxmlformats.org/officeDocument/2006/relationships/slideLayout" Target="../slideLayouts/slideLayout333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338.xml"/><Relationship Id="rId4" Type="http://schemas.openxmlformats.org/officeDocument/2006/relationships/slideLayout" Target="../slideLayouts/slideLayout332.xml"/><Relationship Id="rId9" Type="http://schemas.openxmlformats.org/officeDocument/2006/relationships/slideLayout" Target="../slideLayouts/slideLayout337.xml"/><Relationship Id="rId14" Type="http://schemas.openxmlformats.org/officeDocument/2006/relationships/image" Target="../media/image1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.jpeg"/><Relationship Id="rId18" Type="http://schemas.openxmlformats.org/officeDocument/2006/relationships/slide" Target="../slides/slide1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17" Type="http://schemas.openxmlformats.org/officeDocument/2006/relationships/slide" Target="../slides/slide14.xml"/><Relationship Id="rId2" Type="http://schemas.openxmlformats.org/officeDocument/2006/relationships/slideLayout" Target="../slideLayouts/slideLayout26.xml"/><Relationship Id="rId16" Type="http://schemas.openxmlformats.org/officeDocument/2006/relationships/slide" Target="../slides/slide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" Target="../slides/slide4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hyperlink" Target="http://www.rosatom.ru/" TargetMode="Externa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8.xml"/><Relationship Id="rId13" Type="http://schemas.openxmlformats.org/officeDocument/2006/relationships/theme" Target="../theme/theme30.xml"/><Relationship Id="rId3" Type="http://schemas.openxmlformats.org/officeDocument/2006/relationships/slideLayout" Target="../slideLayouts/slideLayout343.xml"/><Relationship Id="rId7" Type="http://schemas.openxmlformats.org/officeDocument/2006/relationships/slideLayout" Target="../slideLayouts/slideLayout347.xml"/><Relationship Id="rId12" Type="http://schemas.openxmlformats.org/officeDocument/2006/relationships/slideLayout" Target="../slideLayouts/slideLayout35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4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41.xml"/><Relationship Id="rId6" Type="http://schemas.openxmlformats.org/officeDocument/2006/relationships/slideLayout" Target="../slideLayouts/slideLayout346.xml"/><Relationship Id="rId11" Type="http://schemas.openxmlformats.org/officeDocument/2006/relationships/slideLayout" Target="../slideLayouts/slideLayout351.xml"/><Relationship Id="rId5" Type="http://schemas.openxmlformats.org/officeDocument/2006/relationships/slideLayout" Target="../slideLayouts/slideLayout345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350.xml"/><Relationship Id="rId4" Type="http://schemas.openxmlformats.org/officeDocument/2006/relationships/slideLayout" Target="../slideLayouts/slideLayout344.xml"/><Relationship Id="rId9" Type="http://schemas.openxmlformats.org/officeDocument/2006/relationships/slideLayout" Target="../slideLayouts/slideLayout349.xml"/><Relationship Id="rId14" Type="http://schemas.openxmlformats.org/officeDocument/2006/relationships/image" Target="../media/image13.jpe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0.xml"/><Relationship Id="rId13" Type="http://schemas.openxmlformats.org/officeDocument/2006/relationships/theme" Target="../theme/theme31.xml"/><Relationship Id="rId3" Type="http://schemas.openxmlformats.org/officeDocument/2006/relationships/slideLayout" Target="../slideLayouts/slideLayout355.xml"/><Relationship Id="rId7" Type="http://schemas.openxmlformats.org/officeDocument/2006/relationships/slideLayout" Target="../slideLayouts/slideLayout359.xml"/><Relationship Id="rId12" Type="http://schemas.openxmlformats.org/officeDocument/2006/relationships/slideLayout" Target="../slideLayouts/slideLayout36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5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53.xml"/><Relationship Id="rId6" Type="http://schemas.openxmlformats.org/officeDocument/2006/relationships/slideLayout" Target="../slideLayouts/slideLayout358.xml"/><Relationship Id="rId11" Type="http://schemas.openxmlformats.org/officeDocument/2006/relationships/slideLayout" Target="../slideLayouts/slideLayout363.xml"/><Relationship Id="rId5" Type="http://schemas.openxmlformats.org/officeDocument/2006/relationships/slideLayout" Target="../slideLayouts/slideLayout357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362.xml"/><Relationship Id="rId4" Type="http://schemas.openxmlformats.org/officeDocument/2006/relationships/slideLayout" Target="../slideLayouts/slideLayout356.xml"/><Relationship Id="rId9" Type="http://schemas.openxmlformats.org/officeDocument/2006/relationships/slideLayout" Target="../slideLayouts/slideLayout361.xml"/><Relationship Id="rId14" Type="http://schemas.openxmlformats.org/officeDocument/2006/relationships/image" Target="../media/image13.jpe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67.xml"/><Relationship Id="rId7" Type="http://schemas.openxmlformats.org/officeDocument/2006/relationships/slideLayout" Target="../slideLayouts/slideLayout371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366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69.xml"/><Relationship Id="rId15" Type="http://schemas.openxmlformats.org/officeDocument/2006/relationships/tags" Target="../tags/tag6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368.xml"/><Relationship Id="rId9" Type="http://schemas.openxmlformats.org/officeDocument/2006/relationships/theme" Target="../theme/theme32.xml"/><Relationship Id="rId14" Type="http://schemas.openxmlformats.org/officeDocument/2006/relationships/tags" Target="../tags/tag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.jpeg"/><Relationship Id="rId18" Type="http://schemas.openxmlformats.org/officeDocument/2006/relationships/slide" Target="../slides/slide12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17" Type="http://schemas.openxmlformats.org/officeDocument/2006/relationships/slide" Target="../slides/slide14.xml"/><Relationship Id="rId2" Type="http://schemas.openxmlformats.org/officeDocument/2006/relationships/slideLayout" Target="../slideLayouts/slideLayout37.xml"/><Relationship Id="rId16" Type="http://schemas.openxmlformats.org/officeDocument/2006/relationships/slide" Target="../slides/slide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" Target="../slides/slide4.xml"/><Relationship Id="rId10" Type="http://schemas.openxmlformats.org/officeDocument/2006/relationships/slideLayout" Target="../slideLayouts/slideLayout45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hyperlink" Target="http://www.rosatom.ru/" TargetMode="Externa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1.jpeg"/><Relationship Id="rId18" Type="http://schemas.openxmlformats.org/officeDocument/2006/relationships/slide" Target="../slides/slide12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17" Type="http://schemas.openxmlformats.org/officeDocument/2006/relationships/slide" Target="../slides/slide14.xml"/><Relationship Id="rId2" Type="http://schemas.openxmlformats.org/officeDocument/2006/relationships/slideLayout" Target="../slideLayouts/slideLayout48.xml"/><Relationship Id="rId16" Type="http://schemas.openxmlformats.org/officeDocument/2006/relationships/slide" Target="../slides/slide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" Target="../slides/slide4.xml"/><Relationship Id="rId10" Type="http://schemas.openxmlformats.org/officeDocument/2006/relationships/slideLayout" Target="../slideLayouts/slideLayout5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hyperlink" Target="http://www.rosatom.ru/" TargetMode="Externa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image" Target="../media/image1.jpeg"/><Relationship Id="rId18" Type="http://schemas.openxmlformats.org/officeDocument/2006/relationships/slide" Target="../slides/slide12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6.xml"/><Relationship Id="rId17" Type="http://schemas.openxmlformats.org/officeDocument/2006/relationships/slide" Target="../slides/slide14.xml"/><Relationship Id="rId2" Type="http://schemas.openxmlformats.org/officeDocument/2006/relationships/slideLayout" Target="../slideLayouts/slideLayout59.xml"/><Relationship Id="rId16" Type="http://schemas.openxmlformats.org/officeDocument/2006/relationships/slide" Target="../slides/slide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" Target="../slides/slide4.xml"/><Relationship Id="rId10" Type="http://schemas.openxmlformats.org/officeDocument/2006/relationships/slideLayout" Target="../slideLayouts/slideLayout67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hyperlink" Target="http://www.rosatom.ru/" TargetMode="Externa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image" Target="../media/image1.jpeg"/><Relationship Id="rId18" Type="http://schemas.openxmlformats.org/officeDocument/2006/relationships/slide" Target="../slides/slide12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7.xml"/><Relationship Id="rId17" Type="http://schemas.openxmlformats.org/officeDocument/2006/relationships/slide" Target="../slides/slide14.xml"/><Relationship Id="rId2" Type="http://schemas.openxmlformats.org/officeDocument/2006/relationships/slideLayout" Target="../slideLayouts/slideLayout70.xml"/><Relationship Id="rId16" Type="http://schemas.openxmlformats.org/officeDocument/2006/relationships/slide" Target="../slides/slide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slide" Target="../slides/slide4.xml"/><Relationship Id="rId10" Type="http://schemas.openxmlformats.org/officeDocument/2006/relationships/slideLayout" Target="../slideLayouts/slideLayout78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hyperlink" Target="http://www.rosatom.ru/" TargetMode="Externa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image" Target="../media/image1.jpeg"/><Relationship Id="rId18" Type="http://schemas.openxmlformats.org/officeDocument/2006/relationships/slide" Target="../slides/slide12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8.xml"/><Relationship Id="rId17" Type="http://schemas.openxmlformats.org/officeDocument/2006/relationships/slide" Target="../slides/slide14.xml"/><Relationship Id="rId2" Type="http://schemas.openxmlformats.org/officeDocument/2006/relationships/slideLayout" Target="../slideLayouts/slideLayout81.xml"/><Relationship Id="rId16" Type="http://schemas.openxmlformats.org/officeDocument/2006/relationships/slide" Target="../slides/slide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" Target="../slides/slide4.xml"/><Relationship Id="rId10" Type="http://schemas.openxmlformats.org/officeDocument/2006/relationships/slideLayout" Target="../slideLayouts/slideLayout8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hyperlink" Target="http://www.rosatom.ru/" TargetMode="Externa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9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image" Target="../media/image1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59DDE56-38D0-4187-BB21-B325035434A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29" r:id="rId1"/>
    <p:sldLayoutId id="2147485236" r:id="rId2"/>
    <p:sldLayoutId id="2147485237" r:id="rId3"/>
    <p:sldLayoutId id="2147485238" r:id="rId4"/>
    <p:sldLayoutId id="2147485239" r:id="rId5"/>
    <p:sldLayoutId id="2147485240" r:id="rId6"/>
    <p:sldLayoutId id="2147485241" r:id="rId7"/>
    <p:sldLayoutId id="2147485242" r:id="rId8"/>
    <p:sldLayoutId id="2147485243" r:id="rId9"/>
    <p:sldLayoutId id="2147485244" r:id="rId10"/>
    <p:sldLayoutId id="2147485245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5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6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 i="0">
                <a:solidFill>
                  <a:schemeClr val="hlink"/>
                </a:solidFill>
                <a:cs typeface="+mn-cs"/>
              </a:defRPr>
            </a:lvl1pPr>
          </a:lstStyle>
          <a:p>
            <a:pPr>
              <a:defRPr/>
            </a:pPr>
            <a:fld id="{34C6B389-DF57-4F2F-A1C2-AE5987D1A7A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6170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9" r:id="rId1"/>
    <p:sldLayoutId id="2147485340" r:id="rId2"/>
    <p:sldLayoutId id="2147485341" r:id="rId3"/>
    <p:sldLayoutId id="2147485342" r:id="rId4"/>
    <p:sldLayoutId id="2147485343" r:id="rId5"/>
    <p:sldLayoutId id="2147485344" r:id="rId6"/>
    <p:sldLayoutId id="2147485345" r:id="rId7"/>
    <p:sldLayoutId id="2147485346" r:id="rId8"/>
    <p:sldLayoutId id="2147485347" r:id="rId9"/>
    <p:sldLayoutId id="2147485348" r:id="rId10"/>
    <p:sldLayoutId id="2147485349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 i="0">
                <a:solidFill>
                  <a:schemeClr val="hlink"/>
                </a:solidFill>
                <a:cs typeface="+mn-cs"/>
              </a:defRPr>
            </a:lvl1pPr>
          </a:lstStyle>
          <a:p>
            <a:pPr>
              <a:defRPr/>
            </a:pPr>
            <a:fld id="{34C6B389-DF57-4F2F-A1C2-AE5987D1A7A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74066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1" r:id="rId1"/>
    <p:sldLayoutId id="2147485352" r:id="rId2"/>
    <p:sldLayoutId id="2147485353" r:id="rId3"/>
    <p:sldLayoutId id="2147485354" r:id="rId4"/>
    <p:sldLayoutId id="2147485355" r:id="rId5"/>
    <p:sldLayoutId id="2147485356" r:id="rId6"/>
    <p:sldLayoutId id="2147485357" r:id="rId7"/>
    <p:sldLayoutId id="2147485358" r:id="rId8"/>
    <p:sldLayoutId id="2147485359" r:id="rId9"/>
    <p:sldLayoutId id="2147485360" r:id="rId10"/>
    <p:sldLayoutId id="2147485361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E14B15F-B541-4B20-B757-A03AB0575F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717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41946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3" r:id="rId1"/>
    <p:sldLayoutId id="2147485364" r:id="rId2"/>
    <p:sldLayoutId id="2147485365" r:id="rId3"/>
    <p:sldLayoutId id="2147485366" r:id="rId4"/>
    <p:sldLayoutId id="2147485367" r:id="rId5"/>
    <p:sldLayoutId id="2147485368" r:id="rId6"/>
    <p:sldLayoutId id="2147485369" r:id="rId7"/>
    <p:sldLayoutId id="2147485370" r:id="rId8"/>
    <p:sldLayoutId id="2147485371" r:id="rId9"/>
    <p:sldLayoutId id="2147485372" r:id="rId10"/>
    <p:sldLayoutId id="2147485373" r:id="rId11"/>
    <p:sldLayoutId id="2147485374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E14B15F-B541-4B20-B757-A03AB0575F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717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24585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6" r:id="rId1"/>
    <p:sldLayoutId id="2147485377" r:id="rId2"/>
    <p:sldLayoutId id="2147485378" r:id="rId3"/>
    <p:sldLayoutId id="2147485379" r:id="rId4"/>
    <p:sldLayoutId id="2147485380" r:id="rId5"/>
    <p:sldLayoutId id="2147485381" r:id="rId6"/>
    <p:sldLayoutId id="2147485382" r:id="rId7"/>
    <p:sldLayoutId id="2147485383" r:id="rId8"/>
    <p:sldLayoutId id="2147485384" r:id="rId9"/>
    <p:sldLayoutId id="2147485385" r:id="rId10"/>
    <p:sldLayoutId id="2147485386" r:id="rId11"/>
    <p:sldLayoutId id="2147485387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E14B15F-B541-4B20-B757-A03AB0575F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717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41831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89" r:id="rId1"/>
    <p:sldLayoutId id="2147485390" r:id="rId2"/>
    <p:sldLayoutId id="2147485391" r:id="rId3"/>
    <p:sldLayoutId id="2147485392" r:id="rId4"/>
    <p:sldLayoutId id="2147485393" r:id="rId5"/>
    <p:sldLayoutId id="2147485394" r:id="rId6"/>
    <p:sldLayoutId id="2147485395" r:id="rId7"/>
    <p:sldLayoutId id="2147485396" r:id="rId8"/>
    <p:sldLayoutId id="2147485397" r:id="rId9"/>
    <p:sldLayoutId id="2147485398" r:id="rId10"/>
    <p:sldLayoutId id="2147485399" r:id="rId11"/>
    <p:sldLayoutId id="2147485400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E14B15F-B541-4B20-B757-A03AB0575F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717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2515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2" r:id="rId1"/>
    <p:sldLayoutId id="2147485403" r:id="rId2"/>
    <p:sldLayoutId id="2147485404" r:id="rId3"/>
    <p:sldLayoutId id="2147485405" r:id="rId4"/>
    <p:sldLayoutId id="2147485406" r:id="rId5"/>
    <p:sldLayoutId id="2147485407" r:id="rId6"/>
    <p:sldLayoutId id="2147485408" r:id="rId7"/>
    <p:sldLayoutId id="2147485409" r:id="rId8"/>
    <p:sldLayoutId id="2147485410" r:id="rId9"/>
    <p:sldLayoutId id="2147485411" r:id="rId10"/>
    <p:sldLayoutId id="2147485412" r:id="rId11"/>
    <p:sldLayoutId id="2147485413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5281CECB-5107-486E-9ECF-DA0E8653210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9221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82713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15" r:id="rId1"/>
    <p:sldLayoutId id="2147485416" r:id="rId2"/>
    <p:sldLayoutId id="2147485417" r:id="rId3"/>
    <p:sldLayoutId id="2147485418" r:id="rId4"/>
    <p:sldLayoutId id="2147485419" r:id="rId5"/>
    <p:sldLayoutId id="2147485420" r:id="rId6"/>
    <p:sldLayoutId id="2147485421" r:id="rId7"/>
    <p:sldLayoutId id="2147485422" r:id="rId8"/>
    <p:sldLayoutId id="2147485423" r:id="rId9"/>
    <p:sldLayoutId id="2147485424" r:id="rId10"/>
    <p:sldLayoutId id="2147485425" r:id="rId11"/>
    <p:sldLayoutId id="2147485426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E14B15F-B541-4B20-B757-A03AB0575F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717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2954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8" r:id="rId1"/>
    <p:sldLayoutId id="2147485429" r:id="rId2"/>
    <p:sldLayoutId id="2147485430" r:id="rId3"/>
    <p:sldLayoutId id="2147485431" r:id="rId4"/>
    <p:sldLayoutId id="2147485432" r:id="rId5"/>
    <p:sldLayoutId id="2147485433" r:id="rId6"/>
    <p:sldLayoutId id="2147485434" r:id="rId7"/>
    <p:sldLayoutId id="2147485435" r:id="rId8"/>
    <p:sldLayoutId id="2147485436" r:id="rId9"/>
    <p:sldLayoutId id="2147485437" r:id="rId10"/>
    <p:sldLayoutId id="2147485438" r:id="rId11"/>
    <p:sldLayoutId id="2147485439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E14B15F-B541-4B20-B757-A03AB0575F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717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60270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41" r:id="rId1"/>
    <p:sldLayoutId id="2147485442" r:id="rId2"/>
    <p:sldLayoutId id="2147485443" r:id="rId3"/>
    <p:sldLayoutId id="2147485444" r:id="rId4"/>
    <p:sldLayoutId id="2147485445" r:id="rId5"/>
    <p:sldLayoutId id="2147485446" r:id="rId6"/>
    <p:sldLayoutId id="2147485447" r:id="rId7"/>
    <p:sldLayoutId id="2147485448" r:id="rId8"/>
    <p:sldLayoutId id="2147485449" r:id="rId9"/>
    <p:sldLayoutId id="2147485450" r:id="rId10"/>
    <p:sldLayoutId id="2147485451" r:id="rId11"/>
    <p:sldLayoutId id="2147485452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E14B15F-B541-4B20-B757-A03AB0575F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717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57499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4" r:id="rId1"/>
    <p:sldLayoutId id="2147485455" r:id="rId2"/>
    <p:sldLayoutId id="2147485456" r:id="rId3"/>
    <p:sldLayoutId id="2147485457" r:id="rId4"/>
    <p:sldLayoutId id="2147485458" r:id="rId5"/>
    <p:sldLayoutId id="2147485459" r:id="rId6"/>
    <p:sldLayoutId id="2147485460" r:id="rId7"/>
    <p:sldLayoutId id="2147485461" r:id="rId8"/>
    <p:sldLayoutId id="2147485462" r:id="rId9"/>
    <p:sldLayoutId id="2147485463" r:id="rId10"/>
    <p:sldLayoutId id="2147485464" r:id="rId11"/>
    <p:sldLayoutId id="2147485465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4FC792A-492F-42BA-B1D2-F2F8104242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9221" name="Text Box 5">
            <a:hlinkClick r:id="rId16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30" r:id="rId1"/>
    <p:sldLayoutId id="2147485246" r:id="rId2"/>
    <p:sldLayoutId id="2147485247" r:id="rId3"/>
    <p:sldLayoutId id="2147485248" r:id="rId4"/>
    <p:sldLayoutId id="2147485249" r:id="rId5"/>
    <p:sldLayoutId id="2147485250" r:id="rId6"/>
    <p:sldLayoutId id="2147485251" r:id="rId7"/>
    <p:sldLayoutId id="2147485252" r:id="rId8"/>
    <p:sldLayoutId id="2147485253" r:id="rId9"/>
    <p:sldLayoutId id="2147485254" r:id="rId10"/>
    <p:sldLayoutId id="2147485255" r:id="rId11"/>
    <p:sldLayoutId id="2147485256" r:id="rId12"/>
    <p:sldLayoutId id="2147485257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7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8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E14B15F-B541-4B20-B757-A03AB0575F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717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05072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67" r:id="rId1"/>
    <p:sldLayoutId id="2147485468" r:id="rId2"/>
    <p:sldLayoutId id="2147485469" r:id="rId3"/>
    <p:sldLayoutId id="2147485470" r:id="rId4"/>
    <p:sldLayoutId id="2147485471" r:id="rId5"/>
    <p:sldLayoutId id="2147485472" r:id="rId6"/>
    <p:sldLayoutId id="2147485473" r:id="rId7"/>
    <p:sldLayoutId id="2147485474" r:id="rId8"/>
    <p:sldLayoutId id="2147485475" r:id="rId9"/>
    <p:sldLayoutId id="2147485476" r:id="rId10"/>
    <p:sldLayoutId id="2147485477" r:id="rId11"/>
    <p:sldLayoutId id="2147485478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E14B15F-B541-4B20-B757-A03AB0575F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717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40184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0" r:id="rId1"/>
    <p:sldLayoutId id="2147485481" r:id="rId2"/>
    <p:sldLayoutId id="2147485482" r:id="rId3"/>
    <p:sldLayoutId id="2147485483" r:id="rId4"/>
    <p:sldLayoutId id="2147485484" r:id="rId5"/>
    <p:sldLayoutId id="2147485485" r:id="rId6"/>
    <p:sldLayoutId id="2147485486" r:id="rId7"/>
    <p:sldLayoutId id="2147485487" r:id="rId8"/>
    <p:sldLayoutId id="2147485488" r:id="rId9"/>
    <p:sldLayoutId id="2147485489" r:id="rId10"/>
    <p:sldLayoutId id="2147485490" r:id="rId11"/>
    <p:sldLayoutId id="2147485491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51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DA9BFA9-8682-4F73-AF5A-41DD3048B44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9091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3" r:id="rId1"/>
    <p:sldLayoutId id="2147485494" r:id="rId2"/>
    <p:sldLayoutId id="2147485495" r:id="rId3"/>
    <p:sldLayoutId id="2147485496" r:id="rId4"/>
    <p:sldLayoutId id="2147485497" r:id="rId5"/>
    <p:sldLayoutId id="2147485498" r:id="rId6"/>
    <p:sldLayoutId id="2147485499" r:id="rId7"/>
    <p:sldLayoutId id="2147485500" r:id="rId8"/>
    <p:sldLayoutId id="2147485501" r:id="rId9"/>
    <p:sldLayoutId id="2147485502" r:id="rId10"/>
    <p:sldLayoutId id="2147485503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 i="0">
                <a:solidFill>
                  <a:schemeClr val="hlink"/>
                </a:solidFill>
                <a:cs typeface="+mn-cs"/>
              </a:defRPr>
            </a:lvl1pPr>
          </a:lstStyle>
          <a:p>
            <a:pPr>
              <a:defRPr/>
            </a:pPr>
            <a:fld id="{34C6B389-DF57-4F2F-A1C2-AE5987D1A7A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86359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6" r:id="rId1"/>
    <p:sldLayoutId id="2147485507" r:id="rId2"/>
    <p:sldLayoutId id="2147485508" r:id="rId3"/>
    <p:sldLayoutId id="2147485509" r:id="rId4"/>
    <p:sldLayoutId id="2147485510" r:id="rId5"/>
    <p:sldLayoutId id="2147485511" r:id="rId6"/>
    <p:sldLayoutId id="2147485512" r:id="rId7"/>
    <p:sldLayoutId id="2147485513" r:id="rId8"/>
    <p:sldLayoutId id="2147485514" r:id="rId9"/>
    <p:sldLayoutId id="2147485515" r:id="rId10"/>
    <p:sldLayoutId id="2147485516" r:id="rId11"/>
    <p:sldLayoutId id="2147485517" r:id="rId12"/>
    <p:sldLayoutId id="2147485518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 i="0">
                <a:solidFill>
                  <a:schemeClr val="hlink"/>
                </a:solidFill>
                <a:cs typeface="+mn-cs"/>
              </a:defRPr>
            </a:lvl1pPr>
          </a:lstStyle>
          <a:p>
            <a:pPr>
              <a:defRPr/>
            </a:pPr>
            <a:fld id="{34C6B389-DF57-4F2F-A1C2-AE5987D1A7A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00435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20" r:id="rId1"/>
    <p:sldLayoutId id="2147485521" r:id="rId2"/>
    <p:sldLayoutId id="2147485522" r:id="rId3"/>
    <p:sldLayoutId id="2147485523" r:id="rId4"/>
    <p:sldLayoutId id="2147485524" r:id="rId5"/>
    <p:sldLayoutId id="2147485525" r:id="rId6"/>
    <p:sldLayoutId id="2147485526" r:id="rId7"/>
    <p:sldLayoutId id="2147485527" r:id="rId8"/>
    <p:sldLayoutId id="2147485528" r:id="rId9"/>
    <p:sldLayoutId id="2147485529" r:id="rId10"/>
    <p:sldLayoutId id="2147485530" r:id="rId11"/>
    <p:sldLayoutId id="2147485596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rgbClr val="003274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33704B2-F786-42D0-A14C-7626E40C27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30725" name="navigation8" descr="ujkm,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2245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2" r:id="rId1"/>
    <p:sldLayoutId id="2147485533" r:id="rId2"/>
    <p:sldLayoutId id="2147485534" r:id="rId3"/>
    <p:sldLayoutId id="2147485535" r:id="rId4"/>
    <p:sldLayoutId id="2147485536" r:id="rId5"/>
    <p:sldLayoutId id="2147485537" r:id="rId6"/>
    <p:sldLayoutId id="2147485538" r:id="rId7"/>
    <p:sldLayoutId id="2147485539" r:id="rId8"/>
    <p:sldLayoutId id="2147485540" r:id="rId9"/>
    <p:sldLayoutId id="2147485541" r:id="rId10"/>
    <p:sldLayoutId id="2147485542" r:id="rId11"/>
    <p:sldLayoutId id="2147485543" r:id="rId12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A92FEE1E-70DA-4B99-A308-6E692C7CBF6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98005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5" r:id="rId1"/>
    <p:sldLayoutId id="2147485546" r:id="rId2"/>
    <p:sldLayoutId id="2147485547" r:id="rId3"/>
    <p:sldLayoutId id="2147485548" r:id="rId4"/>
    <p:sldLayoutId id="2147485549" r:id="rId5"/>
    <p:sldLayoutId id="2147485550" r:id="rId6"/>
    <p:sldLayoutId id="2147485551" r:id="rId7"/>
    <p:sldLayoutId id="2147485552" r:id="rId8"/>
    <p:sldLayoutId id="2147485553" r:id="rId9"/>
    <p:sldLayoutId id="2147485554" r:id="rId10"/>
    <p:sldLayoutId id="2147485555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spcAft>
                <a:spcPct val="0"/>
              </a:spcAft>
              <a:buFontTx/>
              <a:buNone/>
              <a:defRPr sz="2200" b="1">
                <a:solidFill>
                  <a:srgbClr val="003274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711D19E-4740-4410-8144-463F83F5073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3075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307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3077" name="Picture 6" descr="ujkm,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9817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7" r:id="rId1"/>
    <p:sldLayoutId id="2147485558" r:id="rId2"/>
    <p:sldLayoutId id="2147485559" r:id="rId3"/>
    <p:sldLayoutId id="2147485560" r:id="rId4"/>
    <p:sldLayoutId id="2147485561" r:id="rId5"/>
    <p:sldLayoutId id="2147485562" r:id="rId6"/>
    <p:sldLayoutId id="2147485563" r:id="rId7"/>
    <p:sldLayoutId id="2147485564" r:id="rId8"/>
    <p:sldLayoutId id="2147485565" r:id="rId9"/>
    <p:sldLayoutId id="2147485566" r:id="rId10"/>
    <p:sldLayoutId id="2147485567" r:id="rId11"/>
    <p:sldLayoutId id="2147485568" r:id="rId12"/>
    <p:sldLayoutId id="2147485569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11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2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35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47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019" indent="-228559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136" indent="-228559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253" indent="-228559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1371" indent="-228559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7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5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3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0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88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05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23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40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rgbClr val="003274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E24234C-D90C-41A3-AE88-5344EF6FD2C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4608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46085" name="navigation8" descr="ujkm,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6848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1" r:id="rId1"/>
    <p:sldLayoutId id="2147485572" r:id="rId2"/>
    <p:sldLayoutId id="2147485573" r:id="rId3"/>
    <p:sldLayoutId id="2147485574" r:id="rId4"/>
    <p:sldLayoutId id="2147485575" r:id="rId5"/>
    <p:sldLayoutId id="2147485576" r:id="rId6"/>
    <p:sldLayoutId id="2147485577" r:id="rId7"/>
    <p:sldLayoutId id="2147485578" r:id="rId8"/>
    <p:sldLayoutId id="2147485579" r:id="rId9"/>
    <p:sldLayoutId id="2147485580" r:id="rId10"/>
    <p:sldLayoutId id="2147485581" r:id="rId11"/>
    <p:sldLayoutId id="2147485582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77" y="6448467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E14B15F-B541-4B20-B757-A03AB0575F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4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717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87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6694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84" r:id="rId1"/>
    <p:sldLayoutId id="2147485585" r:id="rId2"/>
    <p:sldLayoutId id="2147485586" r:id="rId3"/>
    <p:sldLayoutId id="2147485587" r:id="rId4"/>
    <p:sldLayoutId id="2147485588" r:id="rId5"/>
    <p:sldLayoutId id="2147485589" r:id="rId6"/>
    <p:sldLayoutId id="2147485590" r:id="rId7"/>
    <p:sldLayoutId id="2147485591" r:id="rId8"/>
    <p:sldLayoutId id="2147485592" r:id="rId9"/>
    <p:sldLayoutId id="2147485593" r:id="rId10"/>
    <p:sldLayoutId id="2147485594" r:id="rId11"/>
    <p:sldLayoutId id="2147485595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521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0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56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086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191" indent="-180191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802" indent="-177031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57010" indent="-267125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58071" indent="-22760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64284" indent="-22760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9502" indent="-2276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4717" indent="-2276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935" indent="-2276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5154" indent="-2276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04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216" algn="l" defTabSz="9104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435" algn="l" defTabSz="9104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652" algn="l" defTabSz="9104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0868" algn="l" defTabSz="9104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085" algn="l" defTabSz="9104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305" algn="l" defTabSz="9104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522" algn="l" defTabSz="9104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1739" algn="l" defTabSz="9104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ACBC1FE-3023-47D2-A8EF-AB1212B724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830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98309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  <p:sp>
        <p:nvSpPr>
          <p:cNvPr id="98310" name="navigation1">
            <a:hlinkClick r:id="rId15" action="ppaction://hlinksldjump"/>
          </p:cNvPr>
          <p:cNvSpPr>
            <a:spLocks noChangeArrowheads="1"/>
          </p:cNvSpPr>
          <p:nvPr/>
        </p:nvSpPr>
        <p:spPr bwMode="auto">
          <a:xfrm>
            <a:off x="6486525" y="1022350"/>
            <a:ext cx="287338" cy="287338"/>
          </a:xfrm>
          <a:prstGeom prst="ellipse">
            <a:avLst/>
          </a:prstGeom>
          <a:solidFill>
            <a:srgbClr val="C1DCF1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1</a:t>
            </a:r>
          </a:p>
        </p:txBody>
      </p:sp>
      <p:sp>
        <p:nvSpPr>
          <p:cNvPr id="98311" name="navigation2">
            <a:hlinkClick r:id="rId16" action="ppaction://hlinksldjump"/>
          </p:cNvPr>
          <p:cNvSpPr>
            <a:spLocks noChangeArrowheads="1"/>
          </p:cNvSpPr>
          <p:nvPr/>
        </p:nvSpPr>
        <p:spPr bwMode="auto">
          <a:xfrm>
            <a:off x="6865938" y="1022350"/>
            <a:ext cx="287337" cy="287338"/>
          </a:xfrm>
          <a:prstGeom prst="ellipse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8312" name="navigation3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246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3</a:t>
            </a:r>
          </a:p>
        </p:txBody>
      </p:sp>
      <p:sp>
        <p:nvSpPr>
          <p:cNvPr id="98313" name="navigation4">
            <a:hlinkClick r:id="rId18" action="ppaction://hlinksldjump"/>
          </p:cNvPr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4</a:t>
            </a:r>
            <a:endParaRPr lang="ru-RU" b="1">
              <a:solidFill>
                <a:schemeClr val="hlink"/>
              </a:solidFill>
            </a:endParaRPr>
          </a:p>
        </p:txBody>
      </p:sp>
      <p:sp>
        <p:nvSpPr>
          <p:cNvPr id="98314" name="navigation5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5</a:t>
            </a:r>
            <a:endParaRPr lang="ru-RU" b="1">
              <a:solidFill>
                <a:schemeClr val="hlink"/>
              </a:solidFill>
            </a:endParaRPr>
          </a:p>
        </p:txBody>
      </p:sp>
      <p:sp>
        <p:nvSpPr>
          <p:cNvPr id="98315" name="navigation6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6</a:t>
            </a:r>
            <a:endParaRPr lang="ru-RU" b="1">
              <a:solidFill>
                <a:schemeClr val="hlin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31" r:id="rId1"/>
    <p:sldLayoutId id="2147485258" r:id="rId2"/>
    <p:sldLayoutId id="2147485259" r:id="rId3"/>
    <p:sldLayoutId id="2147485260" r:id="rId4"/>
    <p:sldLayoutId id="2147485261" r:id="rId5"/>
    <p:sldLayoutId id="2147485262" r:id="rId6"/>
    <p:sldLayoutId id="2147485263" r:id="rId7"/>
    <p:sldLayoutId id="2147485264" r:id="rId8"/>
    <p:sldLayoutId id="2147485265" r:id="rId9"/>
    <p:sldLayoutId id="2147485266" r:id="rId10"/>
    <p:sldLayoutId id="2147485267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9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20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70" y="6448486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D272EA8-4B81-4A31-A7C3-D00B044141D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7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49615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98" r:id="rId1"/>
    <p:sldLayoutId id="2147485599" r:id="rId2"/>
    <p:sldLayoutId id="2147485600" r:id="rId3"/>
    <p:sldLayoutId id="2147485601" r:id="rId4"/>
    <p:sldLayoutId id="2147485602" r:id="rId5"/>
    <p:sldLayoutId id="2147485603" r:id="rId6"/>
    <p:sldLayoutId id="2147485604" r:id="rId7"/>
    <p:sldLayoutId id="2147485605" r:id="rId8"/>
    <p:sldLayoutId id="2147485606" r:id="rId9"/>
    <p:sldLayoutId id="2147485607" r:id="rId10"/>
    <p:sldLayoutId id="2147485608" r:id="rId11"/>
    <p:sldLayoutId id="2147485609" r:id="rId1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9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90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0859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781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877" indent="-18087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168" indent="-17770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422" indent="-268143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4387" indent="-22847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2153" indent="-22847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9106" indent="-2284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6059" indent="-2284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3011" indent="-2284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9963" indent="-2284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2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05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59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10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64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17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69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21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E14B15F-B541-4B20-B757-A03AB0575F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717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00758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1" r:id="rId1"/>
    <p:sldLayoutId id="2147485612" r:id="rId2"/>
    <p:sldLayoutId id="2147485613" r:id="rId3"/>
    <p:sldLayoutId id="2147485614" r:id="rId4"/>
    <p:sldLayoutId id="2147485615" r:id="rId5"/>
    <p:sldLayoutId id="2147485616" r:id="rId6"/>
    <p:sldLayoutId id="2147485617" r:id="rId7"/>
    <p:sldLayoutId id="2147485618" r:id="rId8"/>
    <p:sldLayoutId id="2147485619" r:id="rId9"/>
    <p:sldLayoutId id="2147485620" r:id="rId10"/>
    <p:sldLayoutId id="2147485621" r:id="rId11"/>
    <p:sldLayoutId id="2147485622" r:id="rId1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!!!Do not delete this text object!!!!_2"/>
          <p:cNvSpPr/>
          <p:nvPr/>
        </p:nvSpPr>
        <p:spPr>
          <a:xfrm>
            <a:off x="-40897" y="-83405"/>
            <a:ext cx="29908" cy="32400"/>
          </a:xfrm>
          <a:prstGeom prst="ellipse">
            <a:avLst/>
          </a:prstGeom>
          <a:solidFill>
            <a:srgbClr val="FF0000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61" tIns="0" rIns="66461" bIns="0" rtlCol="0" anchor="ctr"/>
          <a:lstStyle/>
          <a:p>
            <a:pPr algn="ctr">
              <a:lnSpc>
                <a:spcPct val="93000"/>
              </a:lnSpc>
              <a:spcBef>
                <a:spcPts val="277"/>
              </a:spcBef>
            </a:pPr>
            <a:r>
              <a:rPr lang="de-DE" sz="185" b="1" dirty="0">
                <a:solidFill>
                  <a:prstClr val="white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2" name="!!!Do not delete this text object!!!!"/>
          <p:cNvSpPr txBox="1"/>
          <p:nvPr>
            <p:custDataLst>
              <p:tags r:id="rId10"/>
            </p:custDataLst>
          </p:nvPr>
        </p:nvSpPr>
        <p:spPr>
          <a:xfrm>
            <a:off x="0" y="-90288"/>
            <a:ext cx="916918" cy="42640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Clr>
                <a:prstClr val="black"/>
              </a:buClr>
              <a:buSzPct val="100000"/>
            </a:pPr>
            <a:r>
              <a:rPr lang="en-GB" sz="277" b="0" noProof="1" smtClean="0">
                <a:solidFill>
                  <a:prstClr val="white"/>
                </a:solidFill>
                <a:latin typeface="Arial Narrow"/>
                <a:cs typeface="Arial" pitchFamily="34" charset="0"/>
              </a:rPr>
              <a:t>"A4rb_Premium" – 2012-02_v02 – do not delete this text object! Speech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677008" y="1996701"/>
            <a:ext cx="7879373" cy="132805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 – Level 0</a:t>
            </a:r>
          </a:p>
          <a:p>
            <a:pPr lvl="1"/>
            <a:r>
              <a:rPr lang="en-US" dirty="0" smtClean="0"/>
              <a:t>Level 1</a:t>
            </a:r>
          </a:p>
          <a:p>
            <a:pPr lvl="2"/>
            <a:r>
              <a:rPr lang="en-US" dirty="0" smtClean="0"/>
              <a:t>Level 2</a:t>
            </a:r>
          </a:p>
          <a:p>
            <a:pPr lvl="3"/>
            <a:r>
              <a:rPr lang="en-US" dirty="0" smtClean="0"/>
              <a:t>Level 3</a:t>
            </a:r>
            <a:endParaRPr lang="en-US" dirty="0"/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677008" y="857475"/>
            <a:ext cx="7879373" cy="7727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4" name="Drawing grid" hidden="1"/>
          <p:cNvGrpSpPr/>
          <p:nvPr>
            <p:custDataLst>
              <p:tags r:id="rId13"/>
            </p:custDataLst>
          </p:nvPr>
        </p:nvGrpSpPr>
        <p:grpSpPr>
          <a:xfrm>
            <a:off x="0" y="0"/>
            <a:ext cx="9144000" cy="6858000"/>
            <a:chOff x="0" y="0"/>
            <a:chExt cx="9906000" cy="6858000"/>
          </a:xfrm>
        </p:grpSpPr>
        <p:cxnSp>
          <p:nvCxnSpPr>
            <p:cNvPr id="27" name="!!!Do not delete!!!"/>
            <p:cNvCxnSpPr/>
            <p:nvPr/>
          </p:nvCxnSpPr>
          <p:spPr>
            <a:xfrm>
              <a:off x="738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/>
            <p:cNvCxnSpPr/>
            <p:nvPr/>
          </p:nvCxnSpPr>
          <p:spPr>
            <a:xfrm>
              <a:off x="1347787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/>
            <p:cNvCxnSpPr/>
            <p:nvPr/>
          </p:nvCxnSpPr>
          <p:spPr>
            <a:xfrm>
              <a:off x="7740969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/>
            <p:cNvCxnSpPr/>
            <p:nvPr/>
          </p:nvCxnSpPr>
          <p:spPr>
            <a:xfrm>
              <a:off x="8128319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/>
            <p:cNvCxnSpPr/>
            <p:nvPr/>
          </p:nvCxnSpPr>
          <p:spPr>
            <a:xfrm>
              <a:off x="0" y="221454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!!!Do not delete!!!"/>
            <p:cNvCxnSpPr/>
            <p:nvPr/>
          </p:nvCxnSpPr>
          <p:spPr>
            <a:xfrm>
              <a:off x="0" y="496092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!!!Do not delete!!!"/>
            <p:cNvCxnSpPr/>
            <p:nvPr/>
          </p:nvCxnSpPr>
          <p:spPr>
            <a:xfrm>
              <a:off x="0" y="856800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!!!Do not delete!!!"/>
            <p:cNvCxnSpPr/>
            <p:nvPr/>
          </p:nvCxnSpPr>
          <p:spPr>
            <a:xfrm>
              <a:off x="0" y="741599"/>
              <a:ext cx="144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!!!Do not delete!!!"/>
            <p:cNvCxnSpPr/>
            <p:nvPr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!!!Do not delete!!!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!!!Do not delete!!!"/>
            <p:cNvCxnSpPr/>
            <p:nvPr/>
          </p:nvCxnSpPr>
          <p:spPr>
            <a:xfrm>
              <a:off x="0" y="1995488"/>
              <a:ext cx="9271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!!!Do not delete!!!"/>
            <p:cNvCxnSpPr/>
            <p:nvPr/>
          </p:nvCxnSpPr>
          <p:spPr>
            <a:xfrm>
              <a:off x="0" y="3032125"/>
              <a:ext cx="7366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!!!Do not delete!!!"/>
            <p:cNvCxnSpPr/>
            <p:nvPr/>
          </p:nvCxnSpPr>
          <p:spPr>
            <a:xfrm>
              <a:off x="0" y="1763999"/>
              <a:ext cx="144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Formatted_text" hidden="1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681406" y="2621662"/>
            <a:ext cx="1827692" cy="95949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buClr>
                <a:prstClr val="black"/>
              </a:buClr>
              <a:buSzPct val="100000"/>
            </a:pPr>
            <a:r>
              <a:rPr lang="de-DE" sz="1385" b="1" dirty="0">
                <a:solidFill>
                  <a:prstClr val="black"/>
                </a:solidFill>
                <a:latin typeface="Arial Narrow"/>
                <a:cs typeface="Arial" pitchFamily="34" charset="0"/>
              </a:rPr>
              <a:t>15 Point Text: Level 0</a:t>
            </a:r>
            <a:endParaRPr lang="de-DE" sz="1385" dirty="0">
              <a:solidFill>
                <a:prstClr val="black"/>
              </a:solidFill>
              <a:latin typeface="Arial Narrow"/>
              <a:cs typeface="Arial" pitchFamily="34" charset="0"/>
            </a:endParaRPr>
          </a:p>
          <a:p>
            <a:pPr marL="151916" lvl="1" indent="-151916">
              <a:lnSpc>
                <a:spcPct val="93000"/>
              </a:lnSpc>
              <a:spcBef>
                <a:spcPts val="739"/>
              </a:spcBef>
              <a:buClr>
                <a:prstClr val="black"/>
              </a:buClr>
              <a:buSzPct val="100000"/>
              <a:buFont typeface="Arial Narrow"/>
              <a:buChar char="&gt;"/>
            </a:pPr>
            <a:r>
              <a:rPr lang="de-DE" sz="1385" dirty="0">
                <a:solidFill>
                  <a:prstClr val="black"/>
                </a:solidFill>
                <a:latin typeface="Arial Narrow"/>
                <a:cs typeface="Arial" pitchFamily="34" charset="0"/>
              </a:rPr>
              <a:t>Level 1</a:t>
            </a:r>
          </a:p>
          <a:p>
            <a:pPr marL="318074" lvl="2" indent="-154289">
              <a:lnSpc>
                <a:spcPct val="93000"/>
              </a:lnSpc>
              <a:spcBef>
                <a:spcPts val="369"/>
              </a:spcBef>
              <a:buClr>
                <a:prstClr val="black"/>
              </a:buClr>
              <a:buSzPct val="100000"/>
              <a:buFont typeface="Arial Narrow"/>
              <a:buChar char="–"/>
            </a:pPr>
            <a:r>
              <a:rPr lang="de-DE" sz="1385" dirty="0">
                <a:solidFill>
                  <a:prstClr val="black"/>
                </a:solidFill>
                <a:latin typeface="Arial Narrow"/>
                <a:cs typeface="Arial" pitchFamily="34" charset="0"/>
              </a:rPr>
              <a:t>Level 2</a:t>
            </a:r>
          </a:p>
          <a:p>
            <a:pPr marL="460495" lvl="3" indent="-132926">
              <a:lnSpc>
                <a:spcPct val="93000"/>
              </a:lnSpc>
              <a:spcBef>
                <a:spcPts val="185"/>
              </a:spcBef>
              <a:buClr>
                <a:prstClr val="black"/>
              </a:buClr>
              <a:buSzPct val="100000"/>
              <a:buFont typeface="Arial Narrow"/>
              <a:buChar char="-"/>
            </a:pPr>
            <a:r>
              <a:rPr lang="de-DE" sz="1385" dirty="0">
                <a:solidFill>
                  <a:prstClr val="black"/>
                </a:solidFill>
                <a:latin typeface="Arial Narrow"/>
                <a:cs typeface="Arial" pitchFamily="34" charset="0"/>
              </a:rPr>
              <a:t>Level 3</a:t>
            </a:r>
          </a:p>
        </p:txBody>
      </p:sp>
      <p:sp>
        <p:nvSpPr>
          <p:cNvPr id="46" name="Source" hidden="1"/>
          <p:cNvSpPr txBox="1"/>
          <p:nvPr>
            <p:custDataLst>
              <p:tags r:id="rId15"/>
            </p:custDataLst>
          </p:nvPr>
        </p:nvSpPr>
        <p:spPr>
          <a:xfrm>
            <a:off x="681406" y="6720061"/>
            <a:ext cx="476092" cy="11887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342908" indent="-342908">
              <a:lnSpc>
                <a:spcPct val="93000"/>
              </a:lnSpc>
              <a:buClr>
                <a:prstClr val="black"/>
              </a:buClr>
              <a:buSzPct val="100000"/>
            </a:pPr>
            <a:r>
              <a:rPr lang="de-DE" sz="831" dirty="0">
                <a:solidFill>
                  <a:prstClr val="black"/>
                </a:solidFill>
                <a:latin typeface="Arial Narrow"/>
                <a:cs typeface="Arial" pitchFamily="34" charset="0"/>
              </a:rPr>
              <a:t>Source:	</a:t>
            </a:r>
            <a:r>
              <a:rPr lang="de-DE" sz="831" dirty="0" err="1">
                <a:solidFill>
                  <a:prstClr val="black"/>
                </a:solidFill>
                <a:latin typeface="Arial Narrow"/>
                <a:cs typeface="Arial" pitchFamily="34" charset="0"/>
              </a:rPr>
              <a:t>xxx</a:t>
            </a:r>
            <a:endParaRPr lang="de-DE" sz="831" dirty="0">
              <a:solidFill>
                <a:prstClr val="black"/>
              </a:solidFill>
              <a:latin typeface="Arial Narrow"/>
              <a:cs typeface="Arial" pitchFamily="34" charset="0"/>
            </a:endParaRPr>
          </a:p>
        </p:txBody>
      </p:sp>
      <p:sp>
        <p:nvSpPr>
          <p:cNvPr id="47" name="Notes" hidden="1"/>
          <p:cNvSpPr txBox="1"/>
          <p:nvPr>
            <p:custDataLst>
              <p:tags r:id="rId16"/>
            </p:custDataLst>
          </p:nvPr>
        </p:nvSpPr>
        <p:spPr>
          <a:xfrm>
            <a:off x="681406" y="6428504"/>
            <a:ext cx="294953" cy="132087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149473" indent="-149473">
              <a:lnSpc>
                <a:spcPct val="93000"/>
              </a:lnSpc>
              <a:buClr>
                <a:prstClr val="black"/>
              </a:buClr>
              <a:buSzPct val="100000"/>
            </a:pPr>
            <a:r>
              <a:rPr lang="de-DE" sz="923" dirty="0">
                <a:solidFill>
                  <a:prstClr val="black"/>
                </a:solidFill>
                <a:latin typeface="Arial Narrow"/>
                <a:cs typeface="Arial" pitchFamily="34" charset="0"/>
              </a:rPr>
              <a:t>1)	</a:t>
            </a:r>
            <a:r>
              <a:rPr lang="de-DE" sz="923" dirty="0" err="1">
                <a:solidFill>
                  <a:prstClr val="black"/>
                </a:solidFill>
                <a:latin typeface="Arial Narrow"/>
                <a:cs typeface="Arial" pitchFamily="34" charset="0"/>
              </a:rPr>
              <a:t>xxx</a:t>
            </a:r>
            <a:endParaRPr lang="de-DE" sz="923" dirty="0">
              <a:solidFill>
                <a:prstClr val="black"/>
              </a:solidFill>
              <a:latin typeface="Arial Narrow"/>
              <a:cs typeface="Arial" pitchFamily="34" charset="0"/>
            </a:endParaRPr>
          </a:p>
        </p:txBody>
      </p:sp>
      <p:grpSp>
        <p:nvGrpSpPr>
          <p:cNvPr id="5" name="Legend" hidden="1"/>
          <p:cNvGrpSpPr/>
          <p:nvPr>
            <p:custDataLst>
              <p:tags r:id="rId17"/>
            </p:custDataLst>
          </p:nvPr>
        </p:nvGrpSpPr>
        <p:grpSpPr>
          <a:xfrm>
            <a:off x="681405" y="6195220"/>
            <a:ext cx="602505" cy="146050"/>
            <a:chOff x="736600" y="6157119"/>
            <a:chExt cx="652713" cy="146050"/>
          </a:xfrm>
        </p:grpSpPr>
        <p:sp>
          <p:nvSpPr>
            <p:cNvPr id="49" name="LegendIcon"/>
            <p:cNvSpPr/>
            <p:nvPr/>
          </p:nvSpPr>
          <p:spPr>
            <a:xfrm>
              <a:off x="736600" y="6157119"/>
              <a:ext cx="215900" cy="146050"/>
            </a:xfrm>
            <a:prstGeom prst="rect">
              <a:avLst/>
            </a:prstGeom>
            <a:noFill/>
            <a:ln w="9525" cap="flat" cmpd="sng" algn="ctr">
              <a:solidFill>
                <a:srgbClr val="003F56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844083" fontAlgn="auto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200" kern="0" dirty="0">
                <a:solidFill>
                  <a:srgbClr val="000000"/>
                </a:solidFill>
                <a:latin typeface="Arial Narrow"/>
                <a:cs typeface="Arial" pitchFamily="34" charset="0"/>
              </a:endParaRPr>
            </a:p>
          </p:txBody>
        </p:sp>
        <p:sp>
          <p:nvSpPr>
            <p:cNvPr id="50" name="LegendText"/>
            <p:cNvSpPr txBox="1"/>
            <p:nvPr/>
          </p:nvSpPr>
          <p:spPr>
            <a:xfrm>
              <a:off x="1035050" y="6160134"/>
              <a:ext cx="354263" cy="13208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defTabSz="844083" fontAlgn="auto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defRPr/>
              </a:pPr>
              <a:r>
                <a:rPr lang="de-DE" sz="923" kern="0" dirty="0">
                  <a:solidFill>
                    <a:sysClr val="windowText" lastClr="000000"/>
                  </a:solidFill>
                  <a:latin typeface="Arial Narrow"/>
                  <a:cs typeface="Arial" pitchFamily="34" charset="0"/>
                </a:rPr>
                <a:t>Legend</a:t>
              </a:r>
            </a:p>
          </p:txBody>
        </p:sp>
      </p:grpSp>
      <p:sp>
        <p:nvSpPr>
          <p:cNvPr id="51" name="Subtitle" hidden="1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681406" y="2005020"/>
            <a:ext cx="7876816" cy="27751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buClr>
                <a:prstClr val="black"/>
              </a:buClr>
              <a:buSzPct val="100000"/>
            </a:pPr>
            <a:r>
              <a:rPr lang="de-DE" sz="1939" dirty="0" err="1">
                <a:solidFill>
                  <a:prstClr val="black"/>
                </a:solidFill>
                <a:latin typeface="Arial Narrow"/>
                <a:cs typeface="Arial" pitchFamily="34" charset="0"/>
              </a:rPr>
              <a:t>Subtitle</a:t>
            </a:r>
            <a:endParaRPr lang="de-DE" sz="1939" dirty="0">
              <a:solidFill>
                <a:prstClr val="black"/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7939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33" r:id="rId1"/>
    <p:sldLayoutId id="2147485634" r:id="rId2"/>
    <p:sldLayoutId id="2147485635" r:id="rId3"/>
    <p:sldLayoutId id="2147485636" r:id="rId4"/>
    <p:sldLayoutId id="2147485637" r:id="rId5"/>
    <p:sldLayoutId id="2147485638" r:id="rId6"/>
    <p:sldLayoutId id="2147485639" r:id="rId7"/>
    <p:sldLayoutId id="2147485640" r:id="rId8"/>
  </p:sldLayoutIdLst>
  <p:hf hdr="0" dt="0"/>
  <p:txStyles>
    <p:titleStyle>
      <a:lvl1pPr algn="l" defTabSz="844083" rtl="0" eaLnBrk="1" latinLnBrk="0" hangingPunct="1">
        <a:lnSpc>
          <a:spcPct val="93000"/>
        </a:lnSpc>
        <a:spcBef>
          <a:spcPct val="0"/>
        </a:spcBef>
        <a:buNone/>
        <a:defRPr lang="en-US" sz="2492" b="0" kern="1200" dirty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lang="en-US" sz="1939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12682" indent="-212682" algn="l" defTabSz="844083" rtl="0" eaLnBrk="1" latinLnBrk="0" hangingPunct="1">
        <a:lnSpc>
          <a:spcPct val="93000"/>
        </a:lnSpc>
        <a:spcBef>
          <a:spcPts val="1108"/>
        </a:spcBef>
        <a:buFont typeface="Arial Narrow" pitchFamily="34" charset="0"/>
        <a:buChar char="&gt;"/>
        <a:defRPr lang="en-US" sz="1939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45304" indent="-216005" algn="l" defTabSz="844083" rtl="0" eaLnBrk="1" latinLnBrk="0" hangingPunct="1">
        <a:lnSpc>
          <a:spcPct val="93000"/>
        </a:lnSpc>
        <a:spcBef>
          <a:spcPts val="369"/>
        </a:spcBef>
        <a:buFont typeface="Arial Narrow" pitchFamily="34" charset="0"/>
        <a:buChar char="–"/>
        <a:defRPr lang="en-US" sz="1939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44693" indent="-186097" algn="l" defTabSz="844083" rtl="0" eaLnBrk="1" latinLnBrk="0" hangingPunct="1">
        <a:lnSpc>
          <a:spcPct val="93000"/>
        </a:lnSpc>
        <a:spcBef>
          <a:spcPts val="185"/>
        </a:spcBef>
        <a:buFont typeface="Arial Narrow" pitchFamily="34" charset="0"/>
        <a:buChar char="-"/>
        <a:defRPr lang="en-US" sz="1939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44693" indent="0" algn="l" defTabSz="844083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sz="1569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321228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2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403" name="Text Box 3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  <p:sp>
        <p:nvSpPr>
          <p:cNvPr id="1024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7CC7177-3DCB-4658-B233-3FB5F8FD9F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406" name="navigation1">
            <a:hlinkClick r:id="rId15" action="ppaction://hlinksldjump"/>
          </p:cNvPr>
          <p:cNvSpPr>
            <a:spLocks noChangeArrowheads="1"/>
          </p:cNvSpPr>
          <p:nvPr/>
        </p:nvSpPr>
        <p:spPr bwMode="auto">
          <a:xfrm>
            <a:off x="6486525" y="1022350"/>
            <a:ext cx="287338" cy="287338"/>
          </a:xfrm>
          <a:prstGeom prst="ellipse">
            <a:avLst/>
          </a:prstGeom>
          <a:solidFill>
            <a:schemeClr val="hlink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2407" name="navigation2">
            <a:hlinkClick r:id="rId16" action="ppaction://hlinksldjump"/>
          </p:cNvPr>
          <p:cNvSpPr>
            <a:spLocks noChangeArrowheads="1"/>
          </p:cNvSpPr>
          <p:nvPr/>
        </p:nvSpPr>
        <p:spPr bwMode="auto">
          <a:xfrm>
            <a:off x="6865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2</a:t>
            </a:r>
          </a:p>
        </p:txBody>
      </p:sp>
      <p:sp>
        <p:nvSpPr>
          <p:cNvPr id="102408" name="navigation3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246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3</a:t>
            </a:r>
          </a:p>
        </p:txBody>
      </p:sp>
      <p:sp>
        <p:nvSpPr>
          <p:cNvPr id="102409" name="navigation4">
            <a:hlinkClick r:id="rId18" action="ppaction://hlinksldjump"/>
          </p:cNvPr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4</a:t>
            </a:r>
            <a:endParaRPr lang="ru-RU" b="1">
              <a:solidFill>
                <a:schemeClr val="hlink"/>
              </a:solidFill>
            </a:endParaRPr>
          </a:p>
        </p:txBody>
      </p:sp>
      <p:sp>
        <p:nvSpPr>
          <p:cNvPr id="102410" name="navigation5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5</a:t>
            </a:r>
            <a:endParaRPr lang="ru-RU" b="1">
              <a:solidFill>
                <a:schemeClr val="hlink"/>
              </a:solidFill>
            </a:endParaRPr>
          </a:p>
        </p:txBody>
      </p:sp>
      <p:sp>
        <p:nvSpPr>
          <p:cNvPr id="102411" name="navigation6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6</a:t>
            </a:r>
            <a:endParaRPr lang="ru-RU" b="1">
              <a:solidFill>
                <a:schemeClr val="hlin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32" r:id="rId1"/>
    <p:sldLayoutId id="2147485268" r:id="rId2"/>
    <p:sldLayoutId id="2147485269" r:id="rId3"/>
    <p:sldLayoutId id="2147485270" r:id="rId4"/>
    <p:sldLayoutId id="2147485271" r:id="rId5"/>
    <p:sldLayoutId id="2147485272" r:id="rId6"/>
    <p:sldLayoutId id="2147485273" r:id="rId7"/>
    <p:sldLayoutId id="2147485274" r:id="rId8"/>
    <p:sldLayoutId id="2147485275" r:id="rId9"/>
    <p:sldLayoutId id="2147485276" r:id="rId10"/>
    <p:sldLayoutId id="2147485277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9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20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B6BB86A-368F-48D6-A481-B9E751289CD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44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44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  <p:sp>
        <p:nvSpPr>
          <p:cNvPr id="104454" name="navigation1">
            <a:hlinkClick r:id="rId15" action="ppaction://hlinksldjump"/>
          </p:cNvPr>
          <p:cNvSpPr>
            <a:spLocks noChangeArrowheads="1"/>
          </p:cNvSpPr>
          <p:nvPr/>
        </p:nvSpPr>
        <p:spPr bwMode="auto">
          <a:xfrm>
            <a:off x="6486525" y="1022350"/>
            <a:ext cx="287338" cy="287338"/>
          </a:xfrm>
          <a:prstGeom prst="ellipse">
            <a:avLst/>
          </a:prstGeom>
          <a:solidFill>
            <a:srgbClr val="C1DCF1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1</a:t>
            </a:r>
          </a:p>
        </p:txBody>
      </p:sp>
      <p:sp>
        <p:nvSpPr>
          <p:cNvPr id="104455" name="navigation2">
            <a:hlinkClick r:id="rId16" action="ppaction://hlinksldjump"/>
          </p:cNvPr>
          <p:cNvSpPr>
            <a:spLocks noChangeArrowheads="1"/>
          </p:cNvSpPr>
          <p:nvPr/>
        </p:nvSpPr>
        <p:spPr bwMode="auto">
          <a:xfrm>
            <a:off x="6865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2</a:t>
            </a:r>
          </a:p>
        </p:txBody>
      </p:sp>
      <p:sp>
        <p:nvSpPr>
          <p:cNvPr id="104456" name="navigation3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246938" y="1022350"/>
            <a:ext cx="287337" cy="287338"/>
          </a:xfrm>
          <a:prstGeom prst="ellipse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4457" name="navigation4">
            <a:hlinkClick r:id="rId18" action="ppaction://hlinksldjump"/>
          </p:cNvPr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4</a:t>
            </a:r>
            <a:endParaRPr lang="ru-RU" b="1">
              <a:solidFill>
                <a:schemeClr val="hlink"/>
              </a:solidFill>
            </a:endParaRPr>
          </a:p>
        </p:txBody>
      </p:sp>
      <p:sp>
        <p:nvSpPr>
          <p:cNvPr id="104458" name="navigation5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5</a:t>
            </a:r>
            <a:endParaRPr lang="ru-RU" b="1">
              <a:solidFill>
                <a:schemeClr val="hlink"/>
              </a:solidFill>
            </a:endParaRPr>
          </a:p>
        </p:txBody>
      </p:sp>
      <p:sp>
        <p:nvSpPr>
          <p:cNvPr id="104459" name="navigation6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6</a:t>
            </a:r>
            <a:endParaRPr lang="ru-RU" b="1">
              <a:solidFill>
                <a:schemeClr val="hlin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33" r:id="rId1"/>
    <p:sldLayoutId id="2147485278" r:id="rId2"/>
    <p:sldLayoutId id="2147485279" r:id="rId3"/>
    <p:sldLayoutId id="2147485280" r:id="rId4"/>
    <p:sldLayoutId id="2147485281" r:id="rId5"/>
    <p:sldLayoutId id="2147485282" r:id="rId6"/>
    <p:sldLayoutId id="2147485283" r:id="rId7"/>
    <p:sldLayoutId id="2147485284" r:id="rId8"/>
    <p:sldLayoutId id="2147485285" r:id="rId9"/>
    <p:sldLayoutId id="2147485286" r:id="rId10"/>
    <p:sldLayoutId id="2147485287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9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20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E8AEF09-CD56-421C-B099-A2E10904258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650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6501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  <p:sp>
        <p:nvSpPr>
          <p:cNvPr id="106502" name="navigation1">
            <a:hlinkClick r:id="rId15" action="ppaction://hlinksldjump"/>
          </p:cNvPr>
          <p:cNvSpPr>
            <a:spLocks noChangeArrowheads="1"/>
          </p:cNvSpPr>
          <p:nvPr/>
        </p:nvSpPr>
        <p:spPr bwMode="auto">
          <a:xfrm>
            <a:off x="6486525" y="1022350"/>
            <a:ext cx="287338" cy="287338"/>
          </a:xfrm>
          <a:prstGeom prst="ellipse">
            <a:avLst/>
          </a:prstGeom>
          <a:solidFill>
            <a:srgbClr val="C1DCF1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1</a:t>
            </a:r>
          </a:p>
        </p:txBody>
      </p:sp>
      <p:sp>
        <p:nvSpPr>
          <p:cNvPr id="106503" name="navigation2">
            <a:hlinkClick r:id="rId16" action="ppaction://hlinksldjump"/>
          </p:cNvPr>
          <p:cNvSpPr>
            <a:spLocks noChangeArrowheads="1"/>
          </p:cNvSpPr>
          <p:nvPr/>
        </p:nvSpPr>
        <p:spPr bwMode="auto">
          <a:xfrm>
            <a:off x="6865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2</a:t>
            </a:r>
          </a:p>
        </p:txBody>
      </p:sp>
      <p:sp>
        <p:nvSpPr>
          <p:cNvPr id="106504" name="navigation3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246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3</a:t>
            </a:r>
          </a:p>
        </p:txBody>
      </p:sp>
      <p:sp>
        <p:nvSpPr>
          <p:cNvPr id="106505" name="navigation4">
            <a:hlinkClick r:id="rId18" action="ppaction://hlinksldjump"/>
          </p:cNvPr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bg1"/>
                </a:solidFill>
              </a:rPr>
              <a:t>4</a:t>
            </a:r>
            <a:endParaRPr lang="ru-RU" b="1">
              <a:solidFill>
                <a:schemeClr val="bg1"/>
              </a:solidFill>
            </a:endParaRPr>
          </a:p>
        </p:txBody>
      </p:sp>
      <p:sp>
        <p:nvSpPr>
          <p:cNvPr id="106506" name="navigation5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5</a:t>
            </a:r>
            <a:endParaRPr lang="ru-RU" b="1">
              <a:solidFill>
                <a:schemeClr val="hlink"/>
              </a:solidFill>
            </a:endParaRPr>
          </a:p>
        </p:txBody>
      </p:sp>
      <p:sp>
        <p:nvSpPr>
          <p:cNvPr id="106507" name="navigation6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6</a:t>
            </a:r>
            <a:endParaRPr lang="ru-RU" b="1">
              <a:solidFill>
                <a:schemeClr val="hlin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34" r:id="rId1"/>
    <p:sldLayoutId id="2147485288" r:id="rId2"/>
    <p:sldLayoutId id="2147485289" r:id="rId3"/>
    <p:sldLayoutId id="2147485290" r:id="rId4"/>
    <p:sldLayoutId id="2147485291" r:id="rId5"/>
    <p:sldLayoutId id="2147485292" r:id="rId6"/>
    <p:sldLayoutId id="2147485293" r:id="rId7"/>
    <p:sldLayoutId id="2147485294" r:id="rId8"/>
    <p:sldLayoutId id="2147485295" r:id="rId9"/>
    <p:sldLayoutId id="2147485296" r:id="rId10"/>
    <p:sldLayoutId id="2147485297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9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20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8AD564C-0FB2-4A2E-A5B1-AF457739890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854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8549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  <p:sp>
        <p:nvSpPr>
          <p:cNvPr id="108550" name="navigation1">
            <a:hlinkClick r:id="rId15" action="ppaction://hlinksldjump"/>
          </p:cNvPr>
          <p:cNvSpPr>
            <a:spLocks noChangeArrowheads="1"/>
          </p:cNvSpPr>
          <p:nvPr/>
        </p:nvSpPr>
        <p:spPr bwMode="auto">
          <a:xfrm>
            <a:off x="6486525" y="1022350"/>
            <a:ext cx="287338" cy="287338"/>
          </a:xfrm>
          <a:prstGeom prst="ellipse">
            <a:avLst/>
          </a:prstGeom>
          <a:solidFill>
            <a:srgbClr val="C1DCF1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1</a:t>
            </a:r>
          </a:p>
        </p:txBody>
      </p:sp>
      <p:sp>
        <p:nvSpPr>
          <p:cNvPr id="108551" name="navigation2">
            <a:hlinkClick r:id="rId16" action="ppaction://hlinksldjump"/>
          </p:cNvPr>
          <p:cNvSpPr>
            <a:spLocks noChangeArrowheads="1"/>
          </p:cNvSpPr>
          <p:nvPr/>
        </p:nvSpPr>
        <p:spPr bwMode="auto">
          <a:xfrm>
            <a:off x="6865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2</a:t>
            </a:r>
          </a:p>
        </p:txBody>
      </p:sp>
      <p:sp>
        <p:nvSpPr>
          <p:cNvPr id="108552" name="navigation3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246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3</a:t>
            </a:r>
          </a:p>
        </p:txBody>
      </p:sp>
      <p:sp>
        <p:nvSpPr>
          <p:cNvPr id="108553" name="navigation4">
            <a:hlinkClick r:id="rId18" action="ppaction://hlinksldjump"/>
          </p:cNvPr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4</a:t>
            </a:r>
            <a:endParaRPr lang="ru-RU" b="1">
              <a:solidFill>
                <a:schemeClr val="hlink"/>
              </a:solidFill>
            </a:endParaRPr>
          </a:p>
        </p:txBody>
      </p:sp>
      <p:sp>
        <p:nvSpPr>
          <p:cNvPr id="108554" name="navigation5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bg1"/>
                </a:solidFill>
              </a:rPr>
              <a:t>5</a:t>
            </a:r>
            <a:endParaRPr lang="ru-RU" b="1">
              <a:solidFill>
                <a:schemeClr val="bg1"/>
              </a:solidFill>
            </a:endParaRPr>
          </a:p>
        </p:txBody>
      </p:sp>
      <p:sp>
        <p:nvSpPr>
          <p:cNvPr id="108555" name="navigation6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6</a:t>
            </a:r>
            <a:endParaRPr lang="ru-RU" b="1">
              <a:solidFill>
                <a:schemeClr val="hlin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35" r:id="rId1"/>
    <p:sldLayoutId id="2147485298" r:id="rId2"/>
    <p:sldLayoutId id="2147485299" r:id="rId3"/>
    <p:sldLayoutId id="2147485300" r:id="rId4"/>
    <p:sldLayoutId id="2147485301" r:id="rId5"/>
    <p:sldLayoutId id="2147485302" r:id="rId6"/>
    <p:sldLayoutId id="2147485303" r:id="rId7"/>
    <p:sldLayoutId id="2147485304" r:id="rId8"/>
    <p:sldLayoutId id="2147485305" r:id="rId9"/>
    <p:sldLayoutId id="2147485306" r:id="rId10"/>
    <p:sldLayoutId id="2147485307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9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20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C6DFDDE-53CF-4C4F-9697-1BE9E8FDDC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05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10597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rosatom.ru</a:t>
            </a:r>
            <a:endParaRPr lang="ru-RU" sz="1400" b="1">
              <a:solidFill>
                <a:schemeClr val="hlink"/>
              </a:solidFill>
            </a:endParaRPr>
          </a:p>
        </p:txBody>
      </p:sp>
      <p:sp>
        <p:nvSpPr>
          <p:cNvPr id="110598" name="navigation1">
            <a:hlinkClick r:id="rId15" action="ppaction://hlinksldjump"/>
          </p:cNvPr>
          <p:cNvSpPr>
            <a:spLocks noChangeArrowheads="1"/>
          </p:cNvSpPr>
          <p:nvPr/>
        </p:nvSpPr>
        <p:spPr bwMode="auto">
          <a:xfrm>
            <a:off x="6486525" y="1022350"/>
            <a:ext cx="287338" cy="287338"/>
          </a:xfrm>
          <a:prstGeom prst="ellipse">
            <a:avLst/>
          </a:prstGeom>
          <a:solidFill>
            <a:srgbClr val="C1DCF1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1</a:t>
            </a:r>
          </a:p>
        </p:txBody>
      </p:sp>
      <p:sp>
        <p:nvSpPr>
          <p:cNvPr id="110599" name="navigation2">
            <a:hlinkClick r:id="rId16" action="ppaction://hlinksldjump"/>
          </p:cNvPr>
          <p:cNvSpPr>
            <a:spLocks noChangeArrowheads="1"/>
          </p:cNvSpPr>
          <p:nvPr/>
        </p:nvSpPr>
        <p:spPr bwMode="auto">
          <a:xfrm>
            <a:off x="6865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2</a:t>
            </a:r>
          </a:p>
        </p:txBody>
      </p:sp>
      <p:sp>
        <p:nvSpPr>
          <p:cNvPr id="110600" name="navigation3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246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</a:rPr>
              <a:t>3</a:t>
            </a:r>
          </a:p>
        </p:txBody>
      </p:sp>
      <p:sp>
        <p:nvSpPr>
          <p:cNvPr id="110601" name="navigation4">
            <a:hlinkClick r:id="rId18" action="ppaction://hlinksldjump"/>
          </p:cNvPr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4</a:t>
            </a:r>
            <a:endParaRPr lang="ru-RU" b="1">
              <a:solidFill>
                <a:schemeClr val="hlink"/>
              </a:solidFill>
            </a:endParaRPr>
          </a:p>
        </p:txBody>
      </p:sp>
      <p:sp>
        <p:nvSpPr>
          <p:cNvPr id="110602" name="navigation5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</a:rPr>
              <a:t>5</a:t>
            </a:r>
            <a:endParaRPr lang="ru-RU" b="1">
              <a:solidFill>
                <a:schemeClr val="hlink"/>
              </a:solidFill>
            </a:endParaRPr>
          </a:p>
        </p:txBody>
      </p:sp>
      <p:sp>
        <p:nvSpPr>
          <p:cNvPr id="110603" name="navigation6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bg1"/>
                </a:solidFill>
              </a:rPr>
              <a:t>6</a:t>
            </a:r>
            <a:endParaRPr lang="ru-RU" b="1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36" r:id="rId1"/>
    <p:sldLayoutId id="2147485308" r:id="rId2"/>
    <p:sldLayoutId id="2147485309" r:id="rId3"/>
    <p:sldLayoutId id="2147485310" r:id="rId4"/>
    <p:sldLayoutId id="2147485311" r:id="rId5"/>
    <p:sldLayoutId id="2147485312" r:id="rId6"/>
    <p:sldLayoutId id="2147485313" r:id="rId7"/>
    <p:sldLayoutId id="2147485314" r:id="rId8"/>
    <p:sldLayoutId id="2147485315" r:id="rId9"/>
    <p:sldLayoutId id="2147485316" r:id="rId10"/>
    <p:sldLayoutId id="2147485317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9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20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rgbClr val="003274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FD684A3-6BFC-491F-BCA3-A008E68568C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3317" name="navigation8" descr="ujkm,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337" r:id="rId1"/>
    <p:sldLayoutId id="2147485318" r:id="rId2"/>
    <p:sldLayoutId id="2147485319" r:id="rId3"/>
    <p:sldLayoutId id="2147485320" r:id="rId4"/>
    <p:sldLayoutId id="2147485321" r:id="rId5"/>
    <p:sldLayoutId id="2147485322" r:id="rId6"/>
    <p:sldLayoutId id="2147485323" r:id="rId7"/>
    <p:sldLayoutId id="2147485324" r:id="rId8"/>
    <p:sldLayoutId id="2147485325" r:id="rId9"/>
    <p:sldLayoutId id="2147485326" r:id="rId10"/>
    <p:sldLayoutId id="2147485327" r:id="rId11"/>
    <p:sldLayoutId id="2147485328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8.xml"/><Relationship Id="rId1" Type="http://schemas.openxmlformats.org/officeDocument/2006/relationships/tags" Target="../tags/tag3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0.xml"/><Relationship Id="rId7" Type="http://schemas.openxmlformats.org/officeDocument/2006/relationships/chart" Target="../charts/chart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.vml"/><Relationship Id="rId6" Type="http://schemas.openxmlformats.org/officeDocument/2006/relationships/chart" Target="../charts/chart4.xml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0.xml"/><Relationship Id="rId7" Type="http://schemas.openxmlformats.org/officeDocument/2006/relationships/chart" Target="../charts/chart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6.xml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9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35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9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9.xml"/><Relationship Id="rId5" Type="http://schemas.openxmlformats.org/officeDocument/2006/relationships/image" Target="../media/image18.jpe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0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.vml"/><Relationship Id="rId6" Type="http://schemas.openxmlformats.org/officeDocument/2006/relationships/chart" Target="../charts/chart3.x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2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692789" y="-22397"/>
            <a:ext cx="9836789" cy="3233371"/>
            <a:chOff x="-923717" y="0"/>
            <a:chExt cx="13115718" cy="4311161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 flipH="1">
              <a:off x="-923717" y="0"/>
              <a:ext cx="13111222" cy="4311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4407" tIns="42203" rIns="84407" bIns="42203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 flipH="1">
              <a:off x="470137" y="0"/>
              <a:ext cx="11721864" cy="4089071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14" h="2191">
                  <a:moveTo>
                    <a:pt x="0" y="0"/>
                  </a:moveTo>
                  <a:lnTo>
                    <a:pt x="0" y="2191"/>
                  </a:lnTo>
                  <a:lnTo>
                    <a:pt x="52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7" tIns="42203" rIns="84407" bIns="42203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 flipH="1">
              <a:off x="4988922" y="0"/>
              <a:ext cx="6820893" cy="1950287"/>
            </a:xfrm>
            <a:custGeom>
              <a:avLst/>
              <a:gdLst>
                <a:gd name="T0" fmla="*/ 953 w 3034"/>
                <a:gd name="T1" fmla="*/ 0 h 1045"/>
                <a:gd name="T2" fmla="*/ 0 w 3034"/>
                <a:gd name="T3" fmla="*/ 1045 h 1045"/>
                <a:gd name="T4" fmla="*/ 3034 w 3034"/>
                <a:gd name="T5" fmla="*/ 0 h 1045"/>
                <a:gd name="T6" fmla="*/ 953 w 3034"/>
                <a:gd name="T7" fmla="*/ 0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34" h="1045">
                  <a:moveTo>
                    <a:pt x="953" y="0"/>
                  </a:moveTo>
                  <a:lnTo>
                    <a:pt x="0" y="1045"/>
                  </a:lnTo>
                  <a:lnTo>
                    <a:pt x="3034" y="0"/>
                  </a:lnTo>
                  <a:lnTo>
                    <a:pt x="953" y="0"/>
                  </a:lnTo>
                  <a:close/>
                </a:path>
              </a:pathLst>
            </a:custGeom>
            <a:solidFill>
              <a:srgbClr val="B511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7" tIns="42203" rIns="84407" bIns="42203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 flipH="1">
              <a:off x="2286644" y="0"/>
              <a:ext cx="9905357" cy="2680012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6" h="1436">
                  <a:moveTo>
                    <a:pt x="0" y="0"/>
                  </a:moveTo>
                  <a:lnTo>
                    <a:pt x="0" y="1436"/>
                  </a:lnTo>
                  <a:lnTo>
                    <a:pt x="4110" y="405"/>
                  </a:lnTo>
                  <a:lnTo>
                    <a:pt x="44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7" tIns="42203" rIns="84407" bIns="42203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 flipH="1">
              <a:off x="3084738" y="0"/>
              <a:ext cx="9107263" cy="2543772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51" h="1363">
                  <a:moveTo>
                    <a:pt x="0" y="0"/>
                  </a:moveTo>
                  <a:lnTo>
                    <a:pt x="0" y="1363"/>
                  </a:lnTo>
                  <a:lnTo>
                    <a:pt x="405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7" tIns="42203" rIns="84407" bIns="42203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="1">
                <a:solidFill>
                  <a:prstClr val="black"/>
                </a:solidFill>
                <a:cs typeface="+mn-cs"/>
              </a:endParaRPr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115616" y="3924054"/>
            <a:ext cx="7081476" cy="700192"/>
          </a:xfrm>
        </p:spPr>
        <p:txBody>
          <a:bodyPr/>
          <a:lstStyle/>
          <a:p>
            <a:r>
              <a:rPr lang="ru-RU" dirty="0">
                <a:latin typeface="Calibri" panose="020F0502020204030204" pitchFamily="34" charset="0"/>
              </a:rPr>
              <a:t>ОТЧЁТ</a:t>
            </a: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2111285" y="1422686"/>
            <a:ext cx="4601643" cy="80159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ts val="0"/>
              </a:spcBef>
              <a:buNone/>
              <a:defRPr kumimoji="0" lang="en-US" sz="53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u-RU" sz="4984">
              <a:solidFill>
                <a:srgbClr val="2C4155">
                  <a:lumMod val="50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Подзаголовок 2"/>
          <p:cNvSpPr txBox="1">
            <a:spLocks/>
          </p:cNvSpPr>
          <p:nvPr/>
        </p:nvSpPr>
        <p:spPr>
          <a:xfrm>
            <a:off x="1115616" y="2468950"/>
            <a:ext cx="6066249" cy="678515"/>
          </a:xfrm>
          <a:prstGeom prst="rect">
            <a:avLst/>
          </a:prstGeom>
        </p:spPr>
        <p:txBody>
          <a:bodyPr vert="horz" lIns="84407" tIns="42203" rIns="84407" bIns="42203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847" b="1" dirty="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>
          <a:xfrm>
            <a:off x="352047" y="3146096"/>
            <a:ext cx="6511975" cy="1935503"/>
          </a:xfrm>
        </p:spPr>
        <p:txBody>
          <a:bodyPr/>
          <a:lstStyle/>
          <a:p>
            <a:pPr algn="ctr"/>
            <a:r>
              <a:rPr lang="ru-RU" sz="4000" dirty="0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lang="ru-RU" sz="4000" dirty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истема внутреннего контроля закупок </a:t>
            </a:r>
            <a:r>
              <a:rPr lang="ru-RU" sz="4000" dirty="0" err="1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Госкорпорации</a:t>
            </a:r>
            <a:r>
              <a:rPr lang="ru-RU" sz="4000" dirty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«</a:t>
            </a:r>
            <a:r>
              <a:rPr lang="ru-RU" sz="4000" dirty="0" err="1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осатом</a:t>
            </a:r>
            <a:r>
              <a:rPr lang="ru-RU" sz="4000" dirty="0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»</a:t>
            </a:r>
            <a:endParaRPr lang="ru-RU" sz="4000" dirty="0">
              <a:solidFill>
                <a:schemeClr val="tx2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348675" y="5775412"/>
            <a:ext cx="7920174" cy="918102"/>
          </a:xfrm>
        </p:spPr>
        <p:txBody>
          <a:bodyPr/>
          <a:lstStyle/>
          <a:p>
            <a:r>
              <a:rPr lang="ru-RU" dirty="0" smtClean="0">
                <a:solidFill>
                  <a:srgbClr val="C00000"/>
                </a:solidFill>
                <a:latin typeface="Calibri" panose="020F0502020204030204" pitchFamily="34" charset="0"/>
              </a:rPr>
              <a:t>     </a:t>
            </a:r>
          </a:p>
          <a:p>
            <a:endParaRPr lang="ru-RU" dirty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endParaRPr lang="ru-RU" dirty="0" smtClean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endParaRPr lang="ru-RU" dirty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endParaRPr lang="ru-RU" dirty="0" smtClean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r>
              <a:rPr lang="ru-RU" sz="18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ПИКЕР</a:t>
            </a:r>
            <a:r>
              <a:rPr lang="ru-RU" sz="2400" dirty="0" smtClean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ru-RU" sz="2400" dirty="0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Тихомиров Павел Анатольевич – Председатель Центрального Арбитражного комитета ГК </a:t>
            </a:r>
            <a:r>
              <a:rPr lang="ru-RU" sz="2400" dirty="0" err="1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осатом</a:t>
            </a:r>
            <a:endParaRPr lang="ru-RU" sz="2400" dirty="0">
              <a:solidFill>
                <a:schemeClr val="tx2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24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ДАТА: </a:t>
            </a:r>
            <a:r>
              <a:rPr lang="ru-RU" sz="2400" dirty="0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1.04.2016</a:t>
            </a:r>
            <a:endParaRPr lang="ru-RU" sz="2400" dirty="0">
              <a:solidFill>
                <a:schemeClr val="tx2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8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                                                                         </a:t>
            </a:r>
            <a:endParaRPr lang="ru-RU" sz="1800" dirty="0">
              <a:solidFill>
                <a:schemeClr val="tx2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5"/>
          </p:nvPr>
        </p:nvSpPr>
        <p:spPr>
          <a:xfrm>
            <a:off x="318708" y="2126688"/>
            <a:ext cx="5950850" cy="1363038"/>
          </a:xfrm>
        </p:spPr>
        <p:txBody>
          <a:bodyPr/>
          <a:lstStyle/>
          <a:p>
            <a:r>
              <a:rPr lang="ru-RU" sz="4000" b="1" dirty="0">
                <a:solidFill>
                  <a:schemeClr val="accent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ЛЕНАРНОЕ ЗАСЕДАНИЕ</a:t>
            </a:r>
          </a:p>
        </p:txBody>
      </p:sp>
    </p:spTree>
    <p:extLst>
      <p:ext uri="{BB962C8B-B14F-4D97-AF65-F5344CB8AC3E}">
        <p14:creationId xmlns:p14="http://schemas.microsoft.com/office/powerpoint/2010/main" val="793617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>
            <a:spLocks noGrp="1" noChangeArrowheads="1"/>
          </p:cNvSpPr>
          <p:nvPr>
            <p:ph type="title"/>
          </p:nvPr>
        </p:nvSpPr>
        <p:spPr>
          <a:xfrm>
            <a:off x="251520" y="71128"/>
            <a:ext cx="7920881" cy="83185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2600"/>
              </a:lnSpc>
            </a:pPr>
            <a:r>
              <a:rPr lang="ru-RU" sz="2400" dirty="0" smtClean="0">
                <a:latin typeface="Arial Narrow" panose="020B0606020202030204" pitchFamily="34" charset="0"/>
                <a:cs typeface="Arial" pitchFamily="34" charset="0"/>
              </a:rPr>
              <a:t> ДОПОЛНИТЕЛЬНЫЕ ФУНКЦИИ ВНУТРЕННЕГО КОНТРОЛЯ</a:t>
            </a:r>
            <a:endParaRPr lang="en-US" sz="2400" dirty="0">
              <a:latin typeface="Arial Narrow" panose="020B0606020202030204" pitchFamily="34" charset="0"/>
            </a:endParaRPr>
          </a:p>
        </p:txBody>
      </p:sp>
      <p:sp>
        <p:nvSpPr>
          <p:cNvPr id="461" name="Номер слайда 3"/>
          <p:cNvSpPr txBox="1">
            <a:spLocks/>
          </p:cNvSpPr>
          <p:nvPr/>
        </p:nvSpPr>
        <p:spPr>
          <a:xfrm>
            <a:off x="8337426" y="6472288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>
              <a:defRPr sz="2200" b="1">
                <a:solidFill>
                  <a:srgbClr val="003274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A1B9C2B-DD5C-4693-AD32-2F414A70F2E0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ru-RU" dirty="0"/>
          </a:p>
        </p:txBody>
      </p:sp>
      <p:sp>
        <p:nvSpPr>
          <p:cNvPr id="10" name="Line 5"/>
          <p:cNvSpPr>
            <a:spLocks noChangeShapeType="1"/>
          </p:cNvSpPr>
          <p:nvPr/>
        </p:nvSpPr>
        <p:spPr bwMode="auto">
          <a:xfrm>
            <a:off x="5199806" y="2211277"/>
            <a:ext cx="3744416" cy="0"/>
          </a:xfrm>
          <a:prstGeom prst="line">
            <a:avLst/>
          </a:prstGeom>
          <a:noFill/>
          <a:ln w="22225">
            <a:solidFill>
              <a:sysClr val="window" lastClr="FFFFFF">
                <a:lumMod val="65000"/>
              </a:sysClr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 Narrow"/>
            </a:endParaRPr>
          </a:p>
        </p:txBody>
      </p:sp>
      <p:sp>
        <p:nvSpPr>
          <p:cNvPr id="11" name="Text12"/>
          <p:cNvSpPr>
            <a:spLocks noChangeArrowheads="1"/>
          </p:cNvSpPr>
          <p:nvPr/>
        </p:nvSpPr>
        <p:spPr bwMode="auto">
          <a:xfrm>
            <a:off x="5232087" y="1467429"/>
            <a:ext cx="3911913" cy="55399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06410" fontAlgn="base">
              <a:spcBef>
                <a:spcPct val="0"/>
              </a:spcBef>
              <a:spcAft>
                <a:spcPct val="0"/>
              </a:spcAft>
            </a:pPr>
            <a:r>
              <a:rPr lang="ru-RU" altLang="de-DE" b="1" dirty="0" smtClean="0">
                <a:solidFill>
                  <a:srgbClr val="2C4155"/>
                </a:solidFill>
                <a:latin typeface="Arial Narrow"/>
              </a:rPr>
              <a:t>ОБРАЩЕНИЯ О ВКЛЮЧЕНИИ В РНП АТОМНОЙ ОТРАСЛИ</a:t>
            </a:r>
            <a:endParaRPr lang="ru-RU" altLang="de-DE" b="1" dirty="0">
              <a:solidFill>
                <a:srgbClr val="2C4155"/>
              </a:solidFill>
              <a:latin typeface="Arial Narrow"/>
            </a:endParaRP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4327309"/>
              </p:ext>
            </p:extLst>
          </p:nvPr>
        </p:nvGraphicFramePr>
        <p:xfrm>
          <a:off x="5364088" y="2276873"/>
          <a:ext cx="3582027" cy="3960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Line 5"/>
          <p:cNvSpPr>
            <a:spLocks noChangeShapeType="1"/>
          </p:cNvSpPr>
          <p:nvPr/>
        </p:nvSpPr>
        <p:spPr bwMode="auto">
          <a:xfrm>
            <a:off x="323528" y="2211277"/>
            <a:ext cx="3744416" cy="0"/>
          </a:xfrm>
          <a:prstGeom prst="line">
            <a:avLst/>
          </a:prstGeom>
          <a:noFill/>
          <a:ln w="22225">
            <a:solidFill>
              <a:sysClr val="window" lastClr="FFFFFF">
                <a:lumMod val="65000"/>
              </a:sysClr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 Narrow"/>
            </a:endParaRPr>
          </a:p>
        </p:txBody>
      </p:sp>
      <p:sp>
        <p:nvSpPr>
          <p:cNvPr id="19" name="Text12"/>
          <p:cNvSpPr>
            <a:spLocks noChangeArrowheads="1"/>
          </p:cNvSpPr>
          <p:nvPr/>
        </p:nvSpPr>
        <p:spPr bwMode="auto">
          <a:xfrm>
            <a:off x="179512" y="1456116"/>
            <a:ext cx="4680520" cy="55399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06410" fontAlgn="base">
              <a:spcBef>
                <a:spcPct val="0"/>
              </a:spcBef>
              <a:spcAft>
                <a:spcPct val="0"/>
              </a:spcAft>
            </a:pPr>
            <a:r>
              <a:rPr lang="ru-RU" altLang="de-DE" b="1" dirty="0" smtClean="0">
                <a:solidFill>
                  <a:srgbClr val="2C4155"/>
                </a:solidFill>
                <a:latin typeface="Arial Narrow"/>
              </a:rPr>
              <a:t>ЖАЛОБЫ ПО ТЕХНИЧЕСКИМ ВОПРОСАМ </a:t>
            </a:r>
          </a:p>
          <a:p>
            <a:pPr algn="ctr" defTabSz="406410" fontAlgn="base">
              <a:spcBef>
                <a:spcPct val="0"/>
              </a:spcBef>
              <a:spcAft>
                <a:spcPct val="0"/>
              </a:spcAft>
            </a:pPr>
            <a:r>
              <a:rPr lang="ru-RU" altLang="de-DE" b="1" dirty="0" smtClean="0">
                <a:solidFill>
                  <a:srgbClr val="2C4155"/>
                </a:solidFill>
                <a:latin typeface="Arial Narrow"/>
              </a:rPr>
              <a:t>(% ОТ РАССМОТРЕННЫХ)</a:t>
            </a:r>
            <a:endParaRPr lang="ru-RU" altLang="de-DE" b="1" dirty="0">
              <a:solidFill>
                <a:srgbClr val="2C4155"/>
              </a:solidFill>
              <a:latin typeface="Arial Narrow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062816" y="2492896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43</a:t>
            </a:r>
            <a:endParaRPr lang="ru-RU" sz="1400" dirty="0"/>
          </a:p>
        </p:txBody>
      </p:sp>
      <p:sp>
        <p:nvSpPr>
          <p:cNvPr id="20" name="TextBox 19"/>
          <p:cNvSpPr txBox="1"/>
          <p:nvPr/>
        </p:nvSpPr>
        <p:spPr>
          <a:xfrm>
            <a:off x="6972455" y="4126080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17</a:t>
            </a:r>
            <a:endParaRPr lang="ru-RU" sz="1400" dirty="0"/>
          </a:p>
        </p:txBody>
      </p:sp>
      <p:sp>
        <p:nvSpPr>
          <p:cNvPr id="21" name="TextBox 20"/>
          <p:cNvSpPr txBox="1"/>
          <p:nvPr/>
        </p:nvSpPr>
        <p:spPr>
          <a:xfrm>
            <a:off x="5796136" y="4279969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14</a:t>
            </a:r>
            <a:endParaRPr lang="ru-RU" sz="1400" dirty="0"/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2734041030"/>
              </p:ext>
            </p:extLst>
          </p:nvPr>
        </p:nvGraphicFramePr>
        <p:xfrm>
          <a:off x="227590" y="2348880"/>
          <a:ext cx="4632442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69708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МЕРЫ ДИСЦИПЛИНАРНОЙ ОТВЕТСТВЕННОСТИ ЗА НАРУШЕНИЯ В ЗАКУПОЧНОЙ ДЕЯТЕЛЬНОСТИ</a:t>
            </a:r>
            <a:endParaRPr lang="ru-RU" sz="2400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003DCD-B7CC-4117-950C-DF0AE111754C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1</a:t>
            </a:fld>
            <a:endParaRPr lang="ru-RU">
              <a:solidFill>
                <a:srgbClr val="003274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1006022"/>
              </p:ext>
            </p:extLst>
          </p:nvPr>
        </p:nvGraphicFramePr>
        <p:xfrm>
          <a:off x="323528" y="1340768"/>
          <a:ext cx="8424936" cy="49308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7612"/>
                <a:gridCol w="5299012"/>
                <a:gridCol w="2808312"/>
              </a:tblGrid>
              <a:tr h="37214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</a:rPr>
                        <a:t>№</a:t>
                      </a:r>
                      <a:endParaRPr lang="ru-RU" sz="1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3607" marR="1360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effectLst/>
                          <a:latin typeface="Arial Narrow" panose="020B0606020202030204" pitchFamily="34" charset="0"/>
                        </a:rPr>
                        <a:t>Примерный </a:t>
                      </a:r>
                      <a:r>
                        <a:rPr lang="ru-RU" sz="2000" b="1" dirty="0">
                          <a:effectLst/>
                          <a:latin typeface="Arial Narrow" panose="020B0606020202030204" pitchFamily="34" charset="0"/>
                        </a:rPr>
                        <a:t>перечень </a:t>
                      </a:r>
                      <a:r>
                        <a:rPr lang="ru-RU" sz="2000" b="1" dirty="0" smtClean="0">
                          <a:effectLst/>
                          <a:latin typeface="Arial Narrow" panose="020B0606020202030204" pitchFamily="34" charset="0"/>
                        </a:rPr>
                        <a:t>нарушений</a:t>
                      </a:r>
                      <a:endParaRPr lang="ru-RU" sz="20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13607" marR="1360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effectLst/>
                          <a:latin typeface="Arial Narrow" panose="020B0606020202030204" pitchFamily="34" charset="0"/>
                        </a:rPr>
                        <a:t>Возможные меры </a:t>
                      </a:r>
                      <a:endParaRPr lang="ru-RU" sz="2000" b="1" dirty="0" smtClean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3607" marR="13607" marT="0" marB="0" anchor="ctr"/>
                </a:tc>
              </a:tr>
              <a:tr h="11194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</a:rPr>
                        <a:t>1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3607" marR="13607" marT="0" marB="0"/>
                </a:tc>
                <a:tc>
                  <a:txBody>
                    <a:bodyPr/>
                    <a:lstStyle/>
                    <a:p>
                      <a:pPr marL="0" lvl="1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1.1. Установление 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не предусмотренных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требований 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0" lvl="1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1.2. Нарушения</a:t>
                      </a:r>
                      <a:r>
                        <a:rPr lang="ru-RU" sz="1600" baseline="0" dirty="0" smtClean="0">
                          <a:effectLst/>
                          <a:latin typeface="Arial Narrow" panose="020B0606020202030204" pitchFamily="34" charset="0"/>
                        </a:rPr>
                        <a:t> в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оформлении документации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протоколов.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0" lvl="1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.3. Неправомерный способ закупки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1.4. Нарушение сроков заключения договора</a:t>
                      </a:r>
                    </a:p>
                  </a:txBody>
                  <a:tcPr marL="13607" marR="13607" marT="36000" marB="3600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Замечание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и / или 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уменьшение годовой премии не более чем на 5%</a:t>
                      </a:r>
                      <a:b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</a:br>
                      <a:endParaRPr lang="ru-RU" sz="1600" dirty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3607" marR="13607" marT="0" marB="0"/>
                </a:tc>
              </a:tr>
              <a:tr h="13074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</a:rPr>
                        <a:t>2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3607" marR="13607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2.1. </a:t>
                      </a:r>
                      <a:r>
                        <a:rPr lang="ru-RU" sz="1600" dirty="0" err="1">
                          <a:effectLst/>
                          <a:latin typeface="Arial Narrow" panose="020B0606020202030204" pitchFamily="34" charset="0"/>
                        </a:rPr>
                        <a:t>Неразмещение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 на официальном сайте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закупок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2.2. Невыполнение решений и заключений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АК.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.4. Необоснованное отклонение/допуск участник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cs typeface="Arial"/>
                        </a:rPr>
                        <a:t>2.5. Нарушение порядка оценки заявок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 Narrow" panose="020B0606020202030204" pitchFamily="34" charset="0"/>
                        </a:rPr>
                        <a:t>2.12.  Не предоставление информации в реестр договоров (по 223-ФЗ)</a:t>
                      </a:r>
                      <a:endParaRPr lang="ru-RU" sz="1600" dirty="0" smtClean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3607" marR="1360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Выговор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и / или 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уменьшение годовой премии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от 5 до 25%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13607" marR="13607" marT="0" marB="0"/>
                </a:tc>
              </a:tr>
              <a:tr h="157271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+mn-lt"/>
                        </a:rPr>
                        <a:t>3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3607" marR="13607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3.1.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Неправомерное заключение 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договора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с </a:t>
                      </a:r>
                      <a:r>
                        <a:rPr lang="ru-RU" sz="1600" dirty="0" err="1" smtClean="0">
                          <a:effectLst/>
                          <a:latin typeface="Arial Narrow" panose="020B0606020202030204" pitchFamily="34" charset="0"/>
                        </a:rPr>
                        <a:t>ед.поставщиком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…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3.3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. Изменение условий заключенного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договора с увеличением 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цены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более 10% или единичных</a:t>
                      </a:r>
                      <a:r>
                        <a:rPr lang="ru-RU" sz="1600" baseline="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цен договора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13607" marR="1360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. Выговор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и/или 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снижение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 премии </a:t>
                      </a:r>
                      <a:r>
                        <a:rPr lang="ru-RU" sz="1600" baseline="0" dirty="0" smtClean="0">
                          <a:effectLst/>
                          <a:latin typeface="Arial Narrow" panose="020B0606020202030204" pitchFamily="34" charset="0"/>
                        </a:rPr>
                        <a:t> от 25 до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50%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2. перевод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на 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нижестоящую должность 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и /</a:t>
                      </a:r>
                      <a:r>
                        <a:rPr lang="ru-RU" sz="1600" baseline="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или 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снижение годовой премии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до 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50%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3. </a:t>
                      </a:r>
                      <a:r>
                        <a:rPr lang="ru-RU" sz="1600" dirty="0" smtClean="0">
                          <a:effectLst/>
                          <a:latin typeface="Arial Narrow" panose="020B0606020202030204" pitchFamily="34" charset="0"/>
                        </a:rPr>
                        <a:t>Увольнение.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13607" marR="13607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52606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>
            <a:spLocks noGrp="1" noChangeArrowheads="1"/>
          </p:cNvSpPr>
          <p:nvPr>
            <p:ph type="title"/>
          </p:nvPr>
        </p:nvSpPr>
        <p:spPr>
          <a:xfrm>
            <a:off x="251520" y="71128"/>
            <a:ext cx="7920881" cy="83185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2600"/>
              </a:lnSpc>
            </a:pPr>
            <a:r>
              <a:rPr lang="ru-RU" sz="2400" dirty="0" smtClean="0">
                <a:latin typeface="Arial Narrow" panose="020B0606020202030204" pitchFamily="34" charset="0"/>
                <a:cs typeface="Arial" pitchFamily="34" charset="0"/>
              </a:rPr>
              <a:t>ДИСЦИПЛИНАРНАЯ ОТВЕТСТВЕННОСТЬ </a:t>
            </a:r>
            <a:br>
              <a:rPr lang="ru-RU" sz="2400" dirty="0" smtClean="0">
                <a:latin typeface="Arial Narrow" panose="020B0606020202030204" pitchFamily="34" charset="0"/>
                <a:cs typeface="Arial" pitchFamily="34" charset="0"/>
              </a:rPr>
            </a:br>
            <a:r>
              <a:rPr lang="ru-RU" sz="2400" dirty="0" smtClean="0">
                <a:latin typeface="Arial Narrow" panose="020B0606020202030204" pitchFamily="34" charset="0"/>
                <a:cs typeface="Arial" pitchFamily="34" charset="0"/>
              </a:rPr>
              <a:t>ЗА НАРУШЕНИЯ В ЗАКУПКАХ</a:t>
            </a:r>
            <a:endParaRPr lang="en-US" sz="2400" dirty="0">
              <a:latin typeface="Arial Narrow" panose="020B0606020202030204" pitchFamily="34" charset="0"/>
            </a:endParaRPr>
          </a:p>
        </p:txBody>
      </p:sp>
      <p:sp>
        <p:nvSpPr>
          <p:cNvPr id="461" name="Номер слайда 3"/>
          <p:cNvSpPr txBox="1">
            <a:spLocks/>
          </p:cNvSpPr>
          <p:nvPr/>
        </p:nvSpPr>
        <p:spPr>
          <a:xfrm>
            <a:off x="8337426" y="6472288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>
              <a:defRPr sz="2200" b="1">
                <a:solidFill>
                  <a:srgbClr val="003274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A1B9C2B-DD5C-4693-AD32-2F414A70F2E0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ru-RU" dirty="0"/>
          </a:p>
        </p:txBody>
      </p:sp>
      <p:sp>
        <p:nvSpPr>
          <p:cNvPr id="35" name="Line 5"/>
          <p:cNvSpPr>
            <a:spLocks noChangeShapeType="1"/>
          </p:cNvSpPr>
          <p:nvPr/>
        </p:nvSpPr>
        <p:spPr bwMode="auto">
          <a:xfrm>
            <a:off x="4541170" y="2204864"/>
            <a:ext cx="4392488" cy="0"/>
          </a:xfrm>
          <a:prstGeom prst="line">
            <a:avLst/>
          </a:prstGeom>
          <a:noFill/>
          <a:ln w="22225">
            <a:solidFill>
              <a:sysClr val="window" lastClr="FFFFFF">
                <a:lumMod val="65000"/>
              </a:sysClr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 Narrow"/>
            </a:endParaRPr>
          </a:p>
        </p:txBody>
      </p:sp>
      <p:sp>
        <p:nvSpPr>
          <p:cNvPr id="36" name="Text12"/>
          <p:cNvSpPr>
            <a:spLocks noChangeArrowheads="1"/>
          </p:cNvSpPr>
          <p:nvPr/>
        </p:nvSpPr>
        <p:spPr bwMode="auto">
          <a:xfrm>
            <a:off x="4541171" y="1741504"/>
            <a:ext cx="4423318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06410" fontAlgn="base">
              <a:spcBef>
                <a:spcPct val="0"/>
              </a:spcBef>
              <a:spcAft>
                <a:spcPct val="0"/>
              </a:spcAft>
            </a:pPr>
            <a:r>
              <a:rPr lang="ru-RU" altLang="de-DE" sz="2092" b="1" dirty="0" smtClean="0">
                <a:solidFill>
                  <a:srgbClr val="2C4155"/>
                </a:solidFill>
                <a:latin typeface="Arial Narrow"/>
              </a:rPr>
              <a:t>КОЛИЧЕСТВО ПРИМЕНЕННЫХ МЕР </a:t>
            </a:r>
            <a:endParaRPr lang="ru-RU" altLang="de-DE" sz="2092" b="1" dirty="0">
              <a:solidFill>
                <a:srgbClr val="2C4155"/>
              </a:solidFill>
              <a:latin typeface="Arial Narrow"/>
            </a:endParaRPr>
          </a:p>
        </p:txBody>
      </p:sp>
      <p:sp>
        <p:nvSpPr>
          <p:cNvPr id="37" name="Line 5"/>
          <p:cNvSpPr>
            <a:spLocks noChangeShapeType="1"/>
          </p:cNvSpPr>
          <p:nvPr/>
        </p:nvSpPr>
        <p:spPr bwMode="auto">
          <a:xfrm>
            <a:off x="251520" y="2236776"/>
            <a:ext cx="3672408" cy="0"/>
          </a:xfrm>
          <a:prstGeom prst="line">
            <a:avLst/>
          </a:prstGeom>
          <a:noFill/>
          <a:ln w="22225">
            <a:solidFill>
              <a:sysClr val="window" lastClr="FFFFFF">
                <a:lumMod val="65000"/>
              </a:sysClr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 Narrow"/>
            </a:endParaRPr>
          </a:p>
        </p:txBody>
      </p:sp>
      <p:graphicFrame>
        <p:nvGraphicFramePr>
          <p:cNvPr id="40" name="Диаграмма 3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4312686"/>
              </p:ext>
            </p:extLst>
          </p:nvPr>
        </p:nvGraphicFramePr>
        <p:xfrm>
          <a:off x="4289851" y="3212976"/>
          <a:ext cx="4683157" cy="3259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837364"/>
              </p:ext>
            </p:extLst>
          </p:nvPr>
        </p:nvGraphicFramePr>
        <p:xfrm>
          <a:off x="238716" y="2564904"/>
          <a:ext cx="3960440" cy="3907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Text12"/>
          <p:cNvSpPr>
            <a:spLocks noChangeArrowheads="1"/>
          </p:cNvSpPr>
          <p:nvPr/>
        </p:nvSpPr>
        <p:spPr bwMode="auto">
          <a:xfrm>
            <a:off x="251520" y="1741504"/>
            <a:ext cx="4953209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 fontAlgn="base">
              <a:spcBef>
                <a:spcPct val="0"/>
              </a:spcBef>
              <a:spcAft>
                <a:spcPct val="0"/>
              </a:spcAft>
            </a:pPr>
            <a:r>
              <a:rPr lang="ru-RU" altLang="de-DE" sz="2092" b="1" dirty="0" smtClean="0">
                <a:solidFill>
                  <a:srgbClr val="2C4155"/>
                </a:solidFill>
                <a:latin typeface="Arial Narrow"/>
              </a:rPr>
              <a:t>СУБЪЕКТЫ ОТВЕТСТВЕННОСТИ </a:t>
            </a:r>
            <a:endParaRPr lang="ru-RU" altLang="de-DE" sz="2092" b="1" dirty="0">
              <a:solidFill>
                <a:srgbClr val="2C4155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009454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dirty="0" smtClean="0">
                <a:latin typeface="Arial Narrow" panose="020B0606020202030204" pitchFamily="34" charset="0"/>
              </a:rPr>
              <a:t>ПОЧЕМУ В 223-ФЗ НУЖЕН </a:t>
            </a:r>
            <a:br>
              <a:rPr lang="ru-RU" sz="2400" dirty="0" smtClean="0">
                <a:latin typeface="Arial Narrow" panose="020B0606020202030204" pitchFamily="34" charset="0"/>
              </a:rPr>
            </a:br>
            <a:r>
              <a:rPr lang="ru-RU" sz="2400" dirty="0" smtClean="0">
                <a:latin typeface="Arial Narrow" panose="020B0606020202030204" pitchFamily="34" charset="0"/>
              </a:rPr>
              <a:t>ВНУТРЕННИЙ КОНТРОЛЬ ЗАКУПОК</a:t>
            </a:r>
            <a:endParaRPr lang="ru-RU" sz="24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6B1FF1-CCDF-4618-AA96-E8A119FBE8B6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3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851920" y="1554807"/>
            <a:ext cx="5076789" cy="4610497"/>
          </a:xfrm>
          <a:prstGeom prst="rect">
            <a:avLst/>
          </a:prstGeom>
          <a:noFill/>
          <a:ln w="19050" cap="flat" cmpd="sng" algn="ctr">
            <a:solidFill>
              <a:srgbClr val="B12726"/>
            </a:solidFill>
            <a:prstDash val="solid"/>
          </a:ln>
          <a:effectLst/>
        </p:spPr>
        <p:txBody>
          <a:bodyPr lIns="88615" tIns="0" rIns="88615" b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46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4243926" y="2775886"/>
            <a:ext cx="4501512" cy="592090"/>
            <a:chOff x="5071293" y="3063981"/>
            <a:chExt cx="4502403" cy="497402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5633428" y="3121837"/>
              <a:ext cx="3940268" cy="4395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1400" dirty="0" smtClean="0">
                  <a:solidFill>
                    <a:srgbClr val="2C4155"/>
                  </a:solidFill>
                  <a:latin typeface="Arial Narrow"/>
                </a:rPr>
                <a:t>ОПЕРАТИВНОСТЬ ВЛИЯНИЯ (ПРЕДОТВРАЩЕНИЕ, ПРОФИЛАКТИКА, МЕРЫ ОТВЕТСТВЕННОСТИ)</a:t>
              </a:r>
              <a:endParaRPr lang="ru-RU" sz="1400" dirty="0">
                <a:solidFill>
                  <a:srgbClr val="2C4155"/>
                </a:solidFill>
                <a:latin typeface="Arial Narrow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b="1" dirty="0">
                  <a:solidFill>
                    <a:srgbClr val="2C4155"/>
                  </a:solidFill>
                  <a:latin typeface="Arial Narrow"/>
                </a:rPr>
                <a:t>01.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4235119" y="3640444"/>
            <a:ext cx="4766253" cy="592090"/>
            <a:chOff x="5071293" y="3063981"/>
            <a:chExt cx="4767196" cy="497402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5633428" y="3121837"/>
              <a:ext cx="4205061" cy="4395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ЭФФЕКТИВНОСТЬ (ЭКОНОМИЯ  ПРЯМАЯ И КОСВЕННАЯ)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62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/>
                </a:rPr>
                <a:t>02.</a:t>
              </a: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4235119" y="4718596"/>
            <a:ext cx="4766253" cy="455749"/>
            <a:chOff x="5071293" y="3063981"/>
            <a:chExt cx="4767196" cy="382865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5633428" y="3121837"/>
              <a:ext cx="4205061" cy="2585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ПОДКОНТРОЛЬНОСТЬ ВНЕШНИМ</a:t>
              </a:r>
              <a:r>
                <a:rPr kumimoji="0" lang="ru-RU" sz="1400" b="0" i="0" u="none" strike="noStrike" kern="0" cap="none" spc="0" normalizeH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 КНО (ФАС, ГП, СП)</a:t>
              </a: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 </a:t>
              </a: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62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/>
                </a:rPr>
                <a:t>03.</a:t>
              </a: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4235119" y="5569573"/>
            <a:ext cx="4766253" cy="455749"/>
            <a:chOff x="5071293" y="3063981"/>
            <a:chExt cx="4767196" cy="382865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5633428" y="3121837"/>
              <a:ext cx="4205061" cy="2585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ОТРАСЛЕВАЯ КОМПЕТЕНТНОСТЬ 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62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/>
                </a:rPr>
                <a:t>04.</a:t>
              </a: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3923929" y="1690083"/>
            <a:ext cx="4896544" cy="613694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ru-RU" sz="4431" b="1" dirty="0" smtClean="0">
                <a:solidFill>
                  <a:srgbClr val="B12726"/>
                </a:solidFill>
                <a:latin typeface="Arial Narrow"/>
                <a:cs typeface="Arial" pitchFamily="34" charset="0"/>
              </a:rPr>
              <a:t>ПРЕИМУЩЕСТВА ВК</a:t>
            </a:r>
            <a:endParaRPr lang="ru-RU" sz="4431" b="1" dirty="0">
              <a:solidFill>
                <a:srgbClr val="B12726"/>
              </a:solidFill>
              <a:latin typeface="Arial Narrow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79511" y="1295834"/>
            <a:ext cx="3117841" cy="289759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ru-RU" sz="2092" b="1" dirty="0" smtClean="0">
                <a:solidFill>
                  <a:prstClr val="black">
                    <a:lumMod val="90000"/>
                    <a:lumOff val="10000"/>
                  </a:prstClr>
                </a:solidFill>
                <a:latin typeface="Arial Narrow"/>
                <a:cs typeface="Arial" pitchFamily="34" charset="0"/>
              </a:rPr>
              <a:t>СРАВНЕНИЕ ПОКАЗАТЕЛЕЙ</a:t>
            </a:r>
            <a:endParaRPr lang="ru-RU" sz="2092" b="1" dirty="0">
              <a:solidFill>
                <a:prstClr val="black">
                  <a:lumMod val="90000"/>
                  <a:lumOff val="10000"/>
                </a:prstClr>
              </a:solidFill>
              <a:latin typeface="Arial Narrow"/>
              <a:cs typeface="Arial" pitchFamily="34" charset="0"/>
            </a:endParaRPr>
          </a:p>
        </p:txBody>
      </p:sp>
      <p:graphicFrame>
        <p:nvGraphicFramePr>
          <p:cNvPr id="27" name="Диаграмма 26"/>
          <p:cNvGraphicFramePr/>
          <p:nvPr>
            <p:extLst>
              <p:ext uri="{D42A27DB-BD31-4B8C-83A1-F6EECF244321}">
                <p14:modId xmlns:p14="http://schemas.microsoft.com/office/powerpoint/2010/main" val="3572353557"/>
              </p:ext>
            </p:extLst>
          </p:nvPr>
        </p:nvGraphicFramePr>
        <p:xfrm>
          <a:off x="179511" y="2498873"/>
          <a:ext cx="3168353" cy="18662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Прямоугольник 28"/>
          <p:cNvSpPr/>
          <p:nvPr/>
        </p:nvSpPr>
        <p:spPr>
          <a:xfrm>
            <a:off x="179511" y="1690083"/>
            <a:ext cx="348647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369"/>
              </a:spcBef>
              <a:spcAft>
                <a:spcPts val="369"/>
              </a:spcAft>
            </a:pPr>
            <a:r>
              <a:rPr lang="ru-RU" sz="1600" dirty="0" smtClean="0">
                <a:solidFill>
                  <a:prstClr val="black"/>
                </a:solidFill>
                <a:latin typeface="Arial Narrow"/>
              </a:rPr>
              <a:t>В организациях, имеющих развитую систему внутреннего контроля, показатели эффективности закупок в рамках 223-ФЗ выше, чем в среднем по стране</a:t>
            </a:r>
            <a:endParaRPr lang="ru-RU" sz="1600" dirty="0">
              <a:solidFill>
                <a:prstClr val="black"/>
              </a:solidFill>
              <a:latin typeface="Arial Narrow"/>
            </a:endParaRPr>
          </a:p>
        </p:txBody>
      </p:sp>
      <p:graphicFrame>
        <p:nvGraphicFramePr>
          <p:cNvPr id="30" name="Диаграмма 29"/>
          <p:cNvGraphicFramePr/>
          <p:nvPr>
            <p:extLst>
              <p:ext uri="{D42A27DB-BD31-4B8C-83A1-F6EECF244321}">
                <p14:modId xmlns:p14="http://schemas.microsoft.com/office/powerpoint/2010/main" val="1937143978"/>
              </p:ext>
            </p:extLst>
          </p:nvPr>
        </p:nvGraphicFramePr>
        <p:xfrm>
          <a:off x="179511" y="4509120"/>
          <a:ext cx="3178782" cy="1907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3700041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60CA79-938D-4FE4-BC0E-B9F216137FC5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4</a:t>
            </a:fld>
            <a:endParaRPr lang="ru-RU">
              <a:solidFill>
                <a:srgbClr val="003274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409455"/>
              </p:ext>
            </p:extLst>
          </p:nvPr>
        </p:nvGraphicFramePr>
        <p:xfrm>
          <a:off x="467544" y="1196752"/>
          <a:ext cx="8219256" cy="5076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72608"/>
                <a:gridCol w="2746648"/>
              </a:tblGrid>
              <a:tr h="504056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Предлагаемая</a:t>
                      </a:r>
                      <a:r>
                        <a:rPr lang="ru-RU" sz="1600" baseline="0" dirty="0" smtClean="0">
                          <a:latin typeface="Arial Narrow" panose="020B0606020202030204" pitchFamily="34" charset="0"/>
                        </a:rPr>
                        <a:t> формулировка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Преимущества</a:t>
                      </a: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1602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Статья 6. </a:t>
                      </a:r>
                    </a:p>
                    <a:p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Контроль за соблюдением требований настоящего Федерального закона осуществляется в порядке, установленном законодательством Российской Федерации.</a:t>
                      </a:r>
                      <a:r>
                        <a:rPr lang="ru-RU" sz="1600" b="1" dirty="0" smtClean="0"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r>
                        <a:rPr lang="ru-RU" sz="1600" b="1" dirty="0" smtClean="0">
                          <a:solidFill>
                            <a:srgbClr val="7F0F03"/>
                          </a:solidFill>
                          <a:latin typeface="Arial Narrow" panose="020B0606020202030204" pitchFamily="34" charset="0"/>
                        </a:rPr>
                        <a:t>Контроль за соблюдением</a:t>
                      </a:r>
                      <a:r>
                        <a:rPr lang="ru-RU" sz="1600" b="1" baseline="0" dirty="0" smtClean="0">
                          <a:solidFill>
                            <a:srgbClr val="7F0F03"/>
                          </a:solidFill>
                          <a:latin typeface="Arial Narrow" panose="020B0606020202030204" pitchFamily="34" charset="0"/>
                        </a:rPr>
                        <a:t> требований положения о закупке осуществляется соответствующим подразделением заказчика в порядке, предусмотренном </a:t>
                      </a:r>
                      <a:r>
                        <a:rPr lang="ru-RU" sz="1600" b="1" dirty="0" smtClean="0">
                          <a:solidFill>
                            <a:srgbClr val="7F0F03"/>
                          </a:solidFill>
                          <a:latin typeface="Arial Narrow" panose="020B0606020202030204" pitchFamily="34" charset="0"/>
                        </a:rPr>
                        <a:t>положением</a:t>
                      </a:r>
                      <a:r>
                        <a:rPr lang="ru-RU" sz="1600" b="1" baseline="0" dirty="0" smtClean="0">
                          <a:solidFill>
                            <a:srgbClr val="7F0F03"/>
                          </a:solidFill>
                          <a:latin typeface="Arial Narrow" panose="020B0606020202030204" pitchFamily="34" charset="0"/>
                        </a:rPr>
                        <a:t> о закупке</a:t>
                      </a:r>
                      <a:endParaRPr lang="ru-RU" sz="1600" dirty="0" smtClean="0">
                        <a:solidFill>
                          <a:srgbClr val="7F0F03"/>
                        </a:solidFill>
                        <a:latin typeface="Arial Narrow" panose="020B0606020202030204" pitchFamily="34" charset="0"/>
                      </a:endParaRPr>
                    </a:p>
                    <a:p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aseline="0" dirty="0" smtClean="0">
                          <a:latin typeface="Arial Narrow" panose="020B0606020202030204" pitchFamily="34" charset="0"/>
                        </a:rPr>
                        <a:t>Внутренний контроль стимулирует соблюдение НПА </a:t>
                      </a:r>
                    </a:p>
                    <a:p>
                      <a:endParaRPr lang="ru-RU" sz="1600" dirty="0" smtClean="0">
                        <a:latin typeface="Arial Narrow" panose="020B0606020202030204" pitchFamily="34" charset="0"/>
                      </a:endParaRPr>
                    </a:p>
                    <a:p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Реагирование на сигналы</a:t>
                      </a:r>
                      <a:r>
                        <a:rPr lang="ru-RU" sz="1600" baseline="0" dirty="0" smtClean="0">
                          <a:latin typeface="Arial Narrow" panose="020B0606020202030204" pitchFamily="34" charset="0"/>
                        </a:rPr>
                        <a:t> во внутреннем контроле быстрее</a:t>
                      </a:r>
                    </a:p>
                    <a:p>
                      <a:endParaRPr lang="ru-RU" sz="1600" baseline="0" dirty="0" smtClean="0">
                        <a:latin typeface="Arial Narrow" panose="020B0606020202030204" pitchFamily="34" charset="0"/>
                      </a:endParaRPr>
                    </a:p>
                    <a:p>
                      <a:r>
                        <a:rPr lang="ru-RU" sz="1600" baseline="0" dirty="0" smtClean="0">
                          <a:latin typeface="Arial Narrow" panose="020B0606020202030204" pitchFamily="34" charset="0"/>
                        </a:rPr>
                        <a:t>Не потребует </a:t>
                      </a:r>
                      <a:r>
                        <a:rPr lang="ru-RU" sz="1600" baseline="0" dirty="0" err="1" smtClean="0">
                          <a:latin typeface="Arial Narrow" panose="020B0606020202030204" pitchFamily="34" charset="0"/>
                        </a:rPr>
                        <a:t>доп.средств</a:t>
                      </a:r>
                      <a:r>
                        <a:rPr lang="ru-RU" sz="1600" baseline="0" dirty="0" smtClean="0">
                          <a:latin typeface="Arial Narrow" panose="020B0606020202030204" pitchFamily="34" charset="0"/>
                        </a:rPr>
                        <a:t> федерального бюджета </a:t>
                      </a:r>
                    </a:p>
                    <a:p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27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baseline="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татья 7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baseline="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За нарушение требований настоящего Федерального закона и иных принятых в соответствии с ним нормативных правовых актов Российской Федерации виновные лица несут ответственность в соответствии с законодательством Российской Федерации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baseline="0" dirty="0" smtClean="0">
                          <a:solidFill>
                            <a:srgbClr val="7F0F03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 случае применения к виновному лицу дисциплинарной ответственности за нарушение, административная ответственность не применяется</a:t>
                      </a:r>
                    </a:p>
                    <a:p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 smtClean="0">
                        <a:latin typeface="Arial Narrow" panose="020B0606020202030204" pitchFamily="34" charset="0"/>
                      </a:endParaRPr>
                    </a:p>
                    <a:p>
                      <a:r>
                        <a:rPr lang="ru-RU" sz="1600" dirty="0" smtClean="0">
                          <a:latin typeface="Arial Narrow" panose="020B0606020202030204" pitchFamily="34" charset="0"/>
                        </a:rPr>
                        <a:t>Дисциплинарная</a:t>
                      </a:r>
                      <a:r>
                        <a:rPr lang="ru-RU" sz="1600" baseline="0" dirty="0" smtClean="0">
                          <a:latin typeface="Arial Narrow" panose="020B0606020202030204" pitchFamily="34" charset="0"/>
                        </a:rPr>
                        <a:t> ответственность более действенная, чем административная</a:t>
                      </a:r>
                    </a:p>
                    <a:p>
                      <a:endParaRPr lang="ru-RU" sz="1600" baseline="0" dirty="0" smtClean="0">
                        <a:latin typeface="Arial Narrow" panose="020B0606020202030204" pitchFamily="34" charset="0"/>
                      </a:endParaRPr>
                    </a:p>
                    <a:p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95536" y="260648"/>
            <a:ext cx="748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ПРЕДЛОЖЕНИЯ ПО ВНЕСЕНИЮ ИЗМЕНЕНИЙ В 223-ФЗ</a:t>
            </a:r>
            <a:endParaRPr lang="ru-RU" sz="2400" b="1" dirty="0">
              <a:solidFill>
                <a:srgbClr val="41414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82323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44624"/>
            <a:ext cx="7561461" cy="1008112"/>
          </a:xfrm>
        </p:spPr>
        <p:txBody>
          <a:bodyPr/>
          <a:lstStyle/>
          <a:p>
            <a:pPr algn="ctr"/>
            <a:r>
              <a:rPr lang="ru-RU" sz="24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АКТИВНОСТЬ ЗАЯВИТЕЛЕЙ ЖАЛОБ В АК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3BAD52-245B-4C04-AC41-E50D54AB5A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5</a:t>
            </a:fld>
            <a:endParaRPr lang="ru-RU">
              <a:solidFill>
                <a:srgbClr val="003274"/>
              </a:solidFill>
            </a:endParaRPr>
          </a:p>
        </p:txBody>
      </p:sp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9242490"/>
              </p:ext>
            </p:extLst>
          </p:nvPr>
        </p:nvGraphicFramePr>
        <p:xfrm>
          <a:off x="4248483" y="3357011"/>
          <a:ext cx="5040560" cy="2736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468193"/>
              </p:ext>
            </p:extLst>
          </p:nvPr>
        </p:nvGraphicFramePr>
        <p:xfrm>
          <a:off x="323528" y="1412776"/>
          <a:ext cx="4464496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148064" y="1340768"/>
            <a:ext cx="36004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FF0000"/>
                </a:solidFill>
                <a:latin typeface="Arial Narrow" panose="020B0606020202030204" pitchFamily="34" charset="0"/>
                <a:cs typeface="Arial"/>
              </a:rPr>
              <a:t>* </a:t>
            </a:r>
            <a:r>
              <a:rPr lang="ru-RU" b="1" dirty="0" smtClean="0">
                <a:solidFill>
                  <a:srgbClr val="FF0000"/>
                </a:solidFill>
                <a:latin typeface="Arial Narrow" panose="020B0606020202030204" pitchFamily="34" charset="0"/>
                <a:cs typeface="Arial"/>
              </a:rPr>
              <a:t>- </a:t>
            </a:r>
            <a:r>
              <a:rPr lang="en-US" b="1" dirty="0" smtClean="0">
                <a:solidFill>
                  <a:srgbClr val="FF0000"/>
                </a:solidFill>
                <a:latin typeface="Arial Narrow" panose="020B0606020202030204" pitchFamily="34" charset="0"/>
                <a:cs typeface="Arial"/>
              </a:rPr>
              <a:t>533</a:t>
            </a:r>
            <a:r>
              <a:rPr lang="ru-RU" b="1" dirty="0" smtClean="0">
                <a:solidFill>
                  <a:srgbClr val="FF0000"/>
                </a:solidFill>
                <a:latin typeface="Arial Narrow" panose="020B0606020202030204" pitchFamily="34" charset="0"/>
                <a:cs typeface="Arial"/>
              </a:rPr>
              <a:t> новых организаций (впервые обратились с обжалованием в 201</a:t>
            </a:r>
            <a:r>
              <a:rPr lang="en-US" b="1" dirty="0" smtClean="0">
                <a:solidFill>
                  <a:srgbClr val="FF0000"/>
                </a:solidFill>
                <a:latin typeface="Arial Narrow" panose="020B0606020202030204" pitchFamily="34" charset="0"/>
                <a:cs typeface="Arial"/>
              </a:rPr>
              <a:t>5</a:t>
            </a:r>
            <a:r>
              <a:rPr lang="ru-RU" b="1" dirty="0" smtClean="0">
                <a:solidFill>
                  <a:srgbClr val="FF0000"/>
                </a:solidFill>
                <a:latin typeface="Arial Narrow" panose="020B0606020202030204" pitchFamily="34" charset="0"/>
                <a:cs typeface="Arial"/>
              </a:rPr>
              <a:t> г</a:t>
            </a:r>
            <a:r>
              <a:rPr lang="en-US" b="1" dirty="0" smtClean="0">
                <a:solidFill>
                  <a:srgbClr val="FF0000"/>
                </a:solidFill>
                <a:latin typeface="Arial Narrow" panose="020B0606020202030204" pitchFamily="34" charset="0"/>
                <a:cs typeface="Arial"/>
              </a:rPr>
              <a:t>.</a:t>
            </a:r>
            <a:r>
              <a:rPr lang="ru-RU" b="1" dirty="0" smtClean="0">
                <a:solidFill>
                  <a:srgbClr val="FF0000"/>
                </a:solidFill>
                <a:latin typeface="Arial Narrow" panose="020B0606020202030204" pitchFamily="34" charset="0"/>
                <a:cs typeface="Arial"/>
              </a:rPr>
              <a:t>)</a:t>
            </a:r>
          </a:p>
          <a:p>
            <a:endParaRPr lang="ru-RU" b="1" dirty="0">
              <a:solidFill>
                <a:srgbClr val="FF0000"/>
              </a:solidFill>
              <a:latin typeface="Arial Narrow" panose="020B0606020202030204" pitchFamily="34" charset="0"/>
              <a:cs typeface="Arial"/>
            </a:endParaRPr>
          </a:p>
          <a:p>
            <a:r>
              <a:rPr lang="en-US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/>
              </a:rPr>
              <a:t>78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/>
              </a:rPr>
              <a:t>% подали в 201</a:t>
            </a:r>
            <a:r>
              <a:rPr lang="en-US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/>
              </a:rPr>
              <a:t>5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/>
              </a:rPr>
              <a:t> году по 1 жалобе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95537" y="3305339"/>
            <a:ext cx="3816424" cy="2904902"/>
          </a:xfrm>
          <a:prstGeom prst="rect">
            <a:avLst/>
          </a:prstGeom>
          <a:noFill/>
          <a:ln w="19050" cap="flat" cmpd="sng" algn="ctr">
            <a:solidFill>
              <a:srgbClr val="B12726"/>
            </a:solidFill>
            <a:prstDash val="solid"/>
          </a:ln>
          <a:effectLst/>
        </p:spPr>
        <p:txBody>
          <a:bodyPr lIns="88615" tIns="0" rIns="88615" b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532874" y="3913573"/>
            <a:ext cx="3509226" cy="566612"/>
            <a:chOff x="5071293" y="3063981"/>
            <a:chExt cx="4502403" cy="755479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5633428" y="3121837"/>
              <a:ext cx="3940268" cy="6976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1400" dirty="0" smtClean="0">
                  <a:solidFill>
                    <a:srgbClr val="2C4155"/>
                  </a:solidFill>
                  <a:latin typeface="Arial Narrow"/>
                </a:rPr>
                <a:t>ЖАЛОБА УВЕЛИЧИВАЕТ СРОК ПРОЦЕДУРЫ ЗАКУПКИ</a:t>
              </a:r>
              <a:endParaRPr lang="ru-RU" sz="1400" dirty="0">
                <a:solidFill>
                  <a:srgbClr val="2C4155"/>
                </a:solidFill>
                <a:latin typeface="Arial Narrow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071293" y="3063981"/>
              <a:ext cx="701487" cy="41036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1400" b="1" dirty="0">
                  <a:solidFill>
                    <a:srgbClr val="2C4155"/>
                  </a:solidFill>
                  <a:latin typeface="Arial Narrow"/>
                </a:rPr>
                <a:t>01.</a:t>
              </a: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502553" y="4549575"/>
            <a:ext cx="3715609" cy="351169"/>
            <a:chOff x="5071293" y="3063981"/>
            <a:chExt cx="4767196" cy="468223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5633428" y="3121837"/>
              <a:ext cx="4205061" cy="41036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60% - НЕОБОСНОВАННЫЕ</a:t>
              </a:r>
              <a:r>
                <a:rPr kumimoji="0" lang="ru-RU" sz="1400" b="0" i="0" u="none" strike="noStrike" kern="0" cap="none" spc="0" normalizeH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 ЖАЛОБЫ</a:t>
              </a:r>
              <a:endPara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2C4155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5071293" y="3063981"/>
              <a:ext cx="701487" cy="41036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/>
                </a:rPr>
                <a:t>02.</a:t>
              </a: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502553" y="5100358"/>
            <a:ext cx="3715609" cy="997499"/>
            <a:chOff x="5071293" y="3063981"/>
            <a:chExt cx="4767196" cy="1329996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5633428" y="3121837"/>
              <a:ext cx="4205061" cy="12721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kern="0" noProof="0" dirty="0" smtClean="0">
                  <a:solidFill>
                    <a:srgbClr val="2C4155"/>
                  </a:solidFill>
                  <a:latin typeface="Arial Narrow" panose="020B0606020202030204" pitchFamily="34" charset="0"/>
                </a:rPr>
                <a:t>НЕЛЬЗЯ УТВЕРЖДАТЬ, ЧТО ВСЕ ЗАЯВИТЕЛИ ПО НЕОБОСНОВАННЫМ ЖАЛОБАМ СОЗНАТЕЛЬНО ЗАТЯГИВАЛИ ПРОЦЕДУРУ</a:t>
              </a: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 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5071293" y="3063981"/>
              <a:ext cx="701487" cy="4103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/>
                </a:rPr>
                <a:t>03.</a:t>
              </a: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532874" y="3501008"/>
            <a:ext cx="3200773" cy="2769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ru-RU" sz="2000" b="1" dirty="0" smtClean="0">
                <a:solidFill>
                  <a:srgbClr val="B12726"/>
                </a:solidFill>
                <a:latin typeface="Arial Narrow"/>
                <a:cs typeface="Arial" pitchFamily="34" charset="0"/>
              </a:rPr>
              <a:t>ВЛИЯНИЕ ЖАЛОБ НА СРОКИ</a:t>
            </a:r>
            <a:endParaRPr lang="ru-RU" sz="2000" b="1" dirty="0">
              <a:solidFill>
                <a:srgbClr val="B12726"/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3887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НКУРС НА ЗВАНИЕ </a:t>
            </a:r>
            <a:br>
              <a:rPr lang="ru-RU" sz="2400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24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«ЛУЧШИЙ ОБЩЕСТВЕННЫЙ КОНТРОЛЕР В ЗАКУПКАХ»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3BAD52-245B-4C04-AC41-E50D54AB5A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6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75856" y="1730334"/>
            <a:ext cx="1700915" cy="312145"/>
          </a:xfrm>
          <a:prstGeom prst="rect">
            <a:avLst/>
          </a:prstGeom>
          <a:noFill/>
        </p:spPr>
        <p:txBody>
          <a:bodyPr wrap="none" lIns="91044" tIns="45523" rIns="91044" bIns="45523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400" i="1" dirty="0">
                <a:solidFill>
                  <a:srgbClr val="414142"/>
                </a:solidFill>
                <a:latin typeface="Arial"/>
                <a:cs typeface="Arial"/>
              </a:rPr>
              <a:t>Критерии оценки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177834" y="1752438"/>
            <a:ext cx="1558613" cy="312145"/>
          </a:xfrm>
          <a:prstGeom prst="rect">
            <a:avLst/>
          </a:prstGeom>
          <a:noFill/>
        </p:spPr>
        <p:txBody>
          <a:bodyPr wrap="none" lIns="91044" tIns="45523" rIns="91044" bIns="45523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400" i="1" dirty="0">
                <a:solidFill>
                  <a:srgbClr val="414142"/>
                </a:solidFill>
                <a:latin typeface="Arial"/>
                <a:cs typeface="Arial"/>
              </a:rPr>
              <a:t>Доп. номинации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514658" y="2013226"/>
            <a:ext cx="8377822" cy="2639910"/>
            <a:chOff x="527982" y="1381646"/>
            <a:chExt cx="8436506" cy="3621658"/>
          </a:xfrm>
        </p:grpSpPr>
        <p:graphicFrame>
          <p:nvGraphicFramePr>
            <p:cNvPr id="18" name="Схема 17"/>
            <p:cNvGraphicFramePr/>
            <p:nvPr>
              <p:extLst>
                <p:ext uri="{D42A27DB-BD31-4B8C-83A1-F6EECF244321}">
                  <p14:modId xmlns:p14="http://schemas.microsoft.com/office/powerpoint/2010/main" val="3202269457"/>
                </p:ext>
              </p:extLst>
            </p:nvPr>
          </p:nvGraphicFramePr>
          <p:xfrm>
            <a:off x="3059832" y="1381646"/>
            <a:ext cx="5904656" cy="362165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21" name="Левая фигурная скобка 20"/>
            <p:cNvSpPr/>
            <p:nvPr/>
          </p:nvSpPr>
          <p:spPr>
            <a:xfrm>
              <a:off x="2627784" y="1382852"/>
              <a:ext cx="432048" cy="3620452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527982" y="2579113"/>
              <a:ext cx="1826087" cy="1635037"/>
            </a:xfrm>
            <a:prstGeom prst="flowChartAlternateProcess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 smtClean="0">
                  <a:solidFill>
                    <a:srgbClr val="414142"/>
                  </a:solidFill>
                  <a:latin typeface="Arial Narrow" panose="020B0606020202030204" pitchFamily="34" charset="0"/>
                </a:rPr>
                <a:t>ЛУЧШИЙ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 smtClean="0">
                  <a:solidFill>
                    <a:srgbClr val="414142"/>
                  </a:solidFill>
                  <a:latin typeface="Arial Narrow" panose="020B0606020202030204" pitchFamily="34" charset="0"/>
                </a:rPr>
                <a:t>ОБЩЕСТВЕННЫЙ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 smtClean="0">
                  <a:solidFill>
                    <a:srgbClr val="414142"/>
                  </a:solidFill>
                  <a:latin typeface="Arial Narrow" panose="020B0606020202030204" pitchFamily="34" charset="0"/>
                </a:rPr>
                <a:t>КОНТРОЛЕР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 smtClean="0">
                  <a:solidFill>
                    <a:srgbClr val="414142"/>
                  </a:solidFill>
                  <a:latin typeface="Arial Narrow" panose="020B0606020202030204" pitchFamily="34" charset="0"/>
                </a:rPr>
                <a:t>ГОДА</a:t>
              </a:r>
              <a:endParaRPr lang="ru-RU" sz="1600" b="1" dirty="0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</p:grp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259098128"/>
              </p:ext>
            </p:extLst>
          </p:nvPr>
        </p:nvGraphicFramePr>
        <p:xfrm>
          <a:off x="399006" y="5296727"/>
          <a:ext cx="8568952" cy="792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99006" y="4848142"/>
            <a:ext cx="847952" cy="31214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lIns="91044" tIns="45523" rIns="91044" bIns="45523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400" i="1" dirty="0">
                <a:solidFill>
                  <a:srgbClr val="414142"/>
                </a:solidFill>
              </a:rPr>
              <a:t>Этапы: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40638" y="985871"/>
            <a:ext cx="9381774" cy="343547"/>
          </a:xfrm>
          <a:prstGeom prst="rect">
            <a:avLst/>
          </a:prstGeom>
          <a:noFill/>
        </p:spPr>
        <p:txBody>
          <a:bodyPr wrap="none" lIns="91044" tIns="45523" rIns="91044" bIns="45523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600" u="sng" dirty="0">
                <a:solidFill>
                  <a:srgbClr val="414142"/>
                </a:solidFill>
                <a:latin typeface="Arial"/>
                <a:cs typeface="Arial"/>
              </a:rPr>
              <a:t>Цель</a:t>
            </a:r>
            <a:r>
              <a:rPr lang="ru-RU" sz="1600" dirty="0">
                <a:solidFill>
                  <a:srgbClr val="414142"/>
                </a:solidFill>
                <a:latin typeface="Arial"/>
                <a:cs typeface="Arial"/>
              </a:rPr>
              <a:t>: </a:t>
            </a:r>
            <a:r>
              <a:rPr lang="ru-RU" sz="1400" dirty="0">
                <a:solidFill>
                  <a:srgbClr val="414142"/>
                </a:solidFill>
                <a:latin typeface="Arial"/>
                <a:cs typeface="Arial"/>
              </a:rPr>
              <a:t>повышение авторитета, ответственности поставщиков, осуществляющих обществ. контроль закупок</a:t>
            </a:r>
            <a:endParaRPr lang="ru-RU" sz="16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40640" y="1238581"/>
            <a:ext cx="6769580" cy="338156"/>
          </a:xfrm>
          <a:prstGeom prst="rect">
            <a:avLst/>
          </a:prstGeom>
          <a:noFill/>
        </p:spPr>
        <p:txBody>
          <a:bodyPr wrap="none" lIns="91044" tIns="45523" rIns="91044" bIns="45523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600" u="sng" dirty="0">
                <a:solidFill>
                  <a:srgbClr val="414142"/>
                </a:solidFill>
                <a:latin typeface="Arial"/>
                <a:cs typeface="Arial"/>
              </a:rPr>
              <a:t>Участники</a:t>
            </a:r>
            <a:r>
              <a:rPr lang="ru-RU" sz="1600" dirty="0">
                <a:solidFill>
                  <a:srgbClr val="414142"/>
                </a:solidFill>
                <a:latin typeface="Arial"/>
                <a:cs typeface="Arial"/>
              </a:rPr>
              <a:t>: </a:t>
            </a:r>
            <a:r>
              <a:rPr lang="ru-RU" sz="1400" dirty="0">
                <a:solidFill>
                  <a:srgbClr val="414142"/>
                </a:solidFill>
                <a:latin typeface="Arial"/>
                <a:cs typeface="Arial"/>
              </a:rPr>
              <a:t>заявители жалоб в </a:t>
            </a:r>
            <a:r>
              <a:rPr lang="ru-RU" sz="1400" dirty="0" smtClean="0">
                <a:solidFill>
                  <a:srgbClr val="414142"/>
                </a:solidFill>
                <a:latin typeface="Arial"/>
                <a:cs typeface="Arial"/>
              </a:rPr>
              <a:t>органы рассмотрения жалоб атомной отрасли</a:t>
            </a:r>
            <a:endParaRPr lang="ru-RU" sz="16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40639" y="1487039"/>
            <a:ext cx="2600528" cy="343547"/>
          </a:xfrm>
          <a:prstGeom prst="rect">
            <a:avLst/>
          </a:prstGeom>
          <a:noFill/>
        </p:spPr>
        <p:txBody>
          <a:bodyPr wrap="none" lIns="91044" tIns="45523" rIns="91044" bIns="45523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600" u="sng" dirty="0">
                <a:solidFill>
                  <a:srgbClr val="414142"/>
                </a:solidFill>
                <a:latin typeface="Arial"/>
                <a:cs typeface="Arial"/>
              </a:rPr>
              <a:t>Периодичность</a:t>
            </a:r>
            <a:r>
              <a:rPr lang="ru-RU" sz="1600" dirty="0">
                <a:solidFill>
                  <a:srgbClr val="414142"/>
                </a:solidFill>
                <a:latin typeface="Arial"/>
                <a:cs typeface="Arial"/>
              </a:rPr>
              <a:t>: </a:t>
            </a:r>
            <a:r>
              <a:rPr lang="ru-RU" sz="1400" dirty="0">
                <a:solidFill>
                  <a:srgbClr val="414142"/>
                </a:solidFill>
                <a:latin typeface="Arial"/>
                <a:cs typeface="Arial"/>
              </a:rPr>
              <a:t>ежегодно</a:t>
            </a:r>
            <a:endParaRPr lang="ru-RU" sz="1600" dirty="0">
              <a:solidFill>
                <a:srgbClr val="41414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13929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B5C1AD1-F71E-44A0-A1FF-7ECD58D2ED56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  <p:sp>
        <p:nvSpPr>
          <p:cNvPr id="5" name="TextBox 2"/>
          <p:cNvSpPr txBox="1">
            <a:spLocks noChangeArrowheads="1"/>
          </p:cNvSpPr>
          <p:nvPr/>
        </p:nvSpPr>
        <p:spPr bwMode="auto">
          <a:xfrm>
            <a:off x="1043030" y="2708277"/>
            <a:ext cx="727392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44" tIns="45523" rIns="91044" bIns="4552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sz="3200" b="1" dirty="0">
                <a:solidFill>
                  <a:srgbClr val="4596D1">
                    <a:lumMod val="50000"/>
                  </a:srgbClr>
                </a:solidFill>
              </a:rPr>
              <a:t>Тихомиров Павел Анатольевич</a:t>
            </a:r>
          </a:p>
          <a:p>
            <a:pPr algn="ctr" eaLnBrk="1" hangingPunct="1"/>
            <a:r>
              <a:rPr lang="ru-RU" sz="2000" b="1" dirty="0">
                <a:solidFill>
                  <a:srgbClr val="4596D1">
                    <a:lumMod val="50000"/>
                  </a:srgbClr>
                </a:solidFill>
              </a:rPr>
              <a:t>8(499)949-25-88</a:t>
            </a:r>
          </a:p>
          <a:p>
            <a:pPr algn="ctr" eaLnBrk="1" hangingPunct="1"/>
            <a:r>
              <a:rPr lang="en-US" sz="2000" b="1" dirty="0">
                <a:solidFill>
                  <a:srgbClr val="4596D1">
                    <a:lumMod val="75000"/>
                  </a:srgbClr>
                </a:solidFill>
              </a:rPr>
              <a:t>patikhomirov@rosatom.ru</a:t>
            </a:r>
            <a:endParaRPr lang="ru-RU" sz="2000" b="1" dirty="0">
              <a:solidFill>
                <a:srgbClr val="4596D1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61208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>
              <a:defRPr/>
            </a:pPr>
            <a:r>
              <a:rPr lang="ru-RU" sz="2400" dirty="0" smtClean="0">
                <a:latin typeface="Arial Narrow" panose="020B0606020202030204" pitchFamily="34" charset="0"/>
                <a:cs typeface="Arial" pitchFamily="34" charset="0"/>
              </a:rPr>
              <a:t>ЗАКУПКИ В АТОМНОЙ ОТРАСЛИ В 2015 ГОДУ</a:t>
            </a:r>
            <a:endParaRPr lang="ru-RU" sz="2400" dirty="0"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374770" y="6488668"/>
            <a:ext cx="301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3274"/>
                </a:solidFill>
                <a:latin typeface="Calibri"/>
              </a:rPr>
              <a:t>1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660232" y="2273444"/>
            <a:ext cx="23762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КОЛИЧЕСТВО ПРОЦЕДУР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660232" y="2742986"/>
            <a:ext cx="23042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СУММА НМЦ, МЛРД.РУБ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631619" y="2236579"/>
            <a:ext cx="391319" cy="36004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1022938" y="2236579"/>
            <a:ext cx="3129644" cy="36004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4152582" y="2236579"/>
            <a:ext cx="1260140" cy="360040"/>
          </a:xfrm>
          <a:prstGeom prst="rect">
            <a:avLst/>
          </a:prstGeom>
          <a:solidFill>
            <a:srgbClr val="7F0F03"/>
          </a:solidFill>
          <a:ln>
            <a:solidFill>
              <a:srgbClr val="7F0F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631619" y="2712208"/>
            <a:ext cx="391319" cy="36004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022939" y="2712208"/>
            <a:ext cx="3461108" cy="36004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484046" y="2712533"/>
            <a:ext cx="928675" cy="360040"/>
          </a:xfrm>
          <a:prstGeom prst="rect">
            <a:avLst/>
          </a:prstGeom>
          <a:solidFill>
            <a:srgbClr val="7F0F03"/>
          </a:solidFill>
          <a:ln>
            <a:solidFill>
              <a:srgbClr val="7F0F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88186" y="2289983"/>
            <a:ext cx="6099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2</a:t>
            </a:r>
            <a:r>
              <a:rPr lang="ru-RU" sz="1400" dirty="0" smtClean="0">
                <a:solidFill>
                  <a:srgbClr val="FFFFFF"/>
                </a:solidFill>
              </a:rPr>
              <a:t>%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071779" y="2260415"/>
            <a:ext cx="720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75%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484047" y="2280927"/>
            <a:ext cx="720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23%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31619" y="2740635"/>
            <a:ext cx="460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2%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2116750" y="2740635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81%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692641" y="2740635"/>
            <a:ext cx="6194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17%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606233" y="3273127"/>
            <a:ext cx="576064" cy="36004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606233" y="3777183"/>
            <a:ext cx="576064" cy="36004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606233" y="4281239"/>
            <a:ext cx="576064" cy="360040"/>
          </a:xfrm>
          <a:prstGeom prst="rect">
            <a:avLst/>
          </a:prstGeom>
          <a:solidFill>
            <a:srgbClr val="7F0F03"/>
          </a:solidFill>
          <a:ln>
            <a:solidFill>
              <a:srgbClr val="7F0F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133357" y="3273127"/>
            <a:ext cx="60563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414142"/>
                </a:solidFill>
              </a:rPr>
              <a:t>- закупки на средства Федерального бюджета  по 44-ФЗ </a:t>
            </a:r>
            <a:endParaRPr lang="ru-RU" sz="1600" dirty="0">
              <a:solidFill>
                <a:srgbClr val="41414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182298" y="3798669"/>
            <a:ext cx="67687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414142"/>
                </a:solidFill>
              </a:rPr>
              <a:t>- закупки по 223-ФЗ</a:t>
            </a:r>
            <a:endParaRPr lang="ru-RU" sz="1600" dirty="0">
              <a:solidFill>
                <a:srgbClr val="414142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182298" y="4302725"/>
            <a:ext cx="71219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414142"/>
                </a:solidFill>
              </a:rPr>
              <a:t>- закупки в соответствии с Положением о закупке</a:t>
            </a:r>
            <a:endParaRPr lang="ru-RU" sz="1600" dirty="0">
              <a:solidFill>
                <a:srgbClr val="41414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628746" y="2260415"/>
            <a:ext cx="1303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68 670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5772762" y="2712208"/>
            <a:ext cx="11109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1 237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914908" y="1340768"/>
            <a:ext cx="4475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 Narrow" panose="020B0606020202030204" pitchFamily="34" charset="0"/>
              </a:rPr>
              <a:t>≈ 400 ПОДВЕДОМСТВЕННЫХ ОРГАНИЗАЦИЙ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71" name="Line 5"/>
          <p:cNvSpPr>
            <a:spLocks noChangeShapeType="1"/>
          </p:cNvSpPr>
          <p:nvPr/>
        </p:nvSpPr>
        <p:spPr bwMode="auto">
          <a:xfrm>
            <a:off x="1914909" y="1742376"/>
            <a:ext cx="4169260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38519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327AE662-D570-40E7-A7CA-85AAC083F90B}" type="slidenum">
              <a:rPr lang="ru-RU" altLang="ru-RU" sz="1800" smtClean="0">
                <a:solidFill>
                  <a:srgbClr val="003274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3</a:t>
            </a:fld>
            <a:endParaRPr lang="ru-RU" altLang="ru-RU" sz="1800" smtClean="0">
              <a:solidFill>
                <a:srgbClr val="003274"/>
              </a:solidFill>
            </a:endParaRPr>
          </a:p>
        </p:txBody>
      </p:sp>
      <p:sp>
        <p:nvSpPr>
          <p:cNvPr id="148483" name="Заголовок 1"/>
          <p:cNvSpPr txBox="1">
            <a:spLocks/>
          </p:cNvSpPr>
          <p:nvPr/>
        </p:nvSpPr>
        <p:spPr bwMode="auto">
          <a:xfrm>
            <a:off x="250825" y="0"/>
            <a:ext cx="785018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9" tIns="45685" rIns="91369" bIns="45685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auto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2000" b="1">
              <a:solidFill>
                <a:srgbClr val="003274"/>
              </a:solidFill>
            </a:endParaRPr>
          </a:p>
        </p:txBody>
      </p:sp>
      <p:sp>
        <p:nvSpPr>
          <p:cNvPr id="148484" name="Заголовок 1"/>
          <p:cNvSpPr txBox="1">
            <a:spLocks/>
          </p:cNvSpPr>
          <p:nvPr/>
        </p:nvSpPr>
        <p:spPr bwMode="auto">
          <a:xfrm>
            <a:off x="202656" y="23774"/>
            <a:ext cx="780891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9" tIns="45685" rIns="91369" bIns="45685" anchor="ctr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auto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400" b="1" dirty="0" smtClean="0">
                <a:solidFill>
                  <a:srgbClr val="003274"/>
                </a:solidFill>
                <a:latin typeface="Arial Narrow" panose="020B0606020202030204" pitchFamily="34" charset="0"/>
              </a:rPr>
              <a:t>ДИАГРАММА КОНТРОЛЯ В БИЗНЕС-ПРОЦЕССАХ</a:t>
            </a:r>
            <a:endParaRPr lang="ru-RU" altLang="ru-RU" sz="2400" b="1" dirty="0">
              <a:solidFill>
                <a:srgbClr val="003274"/>
              </a:solidFill>
              <a:latin typeface="Arial Narrow" panose="020B0606020202030204" pitchFamily="34" charset="0"/>
            </a:endParaRPr>
          </a:p>
        </p:txBody>
      </p:sp>
      <p:sp>
        <p:nvSpPr>
          <p:cNvPr id="148485" name="TextBox 59"/>
          <p:cNvSpPr txBox="1">
            <a:spLocks noChangeArrowheads="1"/>
          </p:cNvSpPr>
          <p:nvPr/>
        </p:nvSpPr>
        <p:spPr bwMode="auto">
          <a:xfrm>
            <a:off x="6213832" y="2161069"/>
            <a:ext cx="296703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3200" b="1" dirty="0">
                <a:solidFill>
                  <a:srgbClr val="414142"/>
                </a:solidFill>
                <a:latin typeface="Arial Narrow" panose="020B0606020202030204" pitchFamily="34" charset="0"/>
              </a:rPr>
              <a:t>80% </a:t>
            </a:r>
            <a:r>
              <a:rPr lang="ru-RU" altLang="ru-RU" sz="2000" b="1" dirty="0">
                <a:solidFill>
                  <a:srgbClr val="414142"/>
                </a:solidFill>
                <a:latin typeface="Arial Narrow" panose="020B0606020202030204" pitchFamily="34" charset="0"/>
              </a:rPr>
              <a:t>- </a:t>
            </a:r>
            <a:r>
              <a:rPr lang="ru-RU" altLang="ru-RU" sz="2000" b="1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менеджеры</a:t>
            </a:r>
            <a:endParaRPr lang="ru-RU" altLang="ru-RU" sz="2000" b="1" dirty="0">
              <a:solidFill>
                <a:srgbClr val="414142"/>
              </a:solidFill>
              <a:latin typeface="Arial Narrow" panose="020B0606020202030204" pitchFamily="34" charset="0"/>
            </a:endParaRPr>
          </a:p>
        </p:txBody>
      </p:sp>
      <p:sp>
        <p:nvSpPr>
          <p:cNvPr id="148486" name="TextBox 62"/>
          <p:cNvSpPr txBox="1">
            <a:spLocks noChangeArrowheads="1"/>
          </p:cNvSpPr>
          <p:nvPr/>
        </p:nvSpPr>
        <p:spPr bwMode="auto">
          <a:xfrm>
            <a:off x="6223188" y="2891746"/>
            <a:ext cx="296703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3200" b="1" dirty="0">
                <a:solidFill>
                  <a:srgbClr val="414142"/>
                </a:solidFill>
                <a:latin typeface="Arial Narrow" panose="020B0606020202030204" pitchFamily="34" charset="0"/>
              </a:rPr>
              <a:t>20% </a:t>
            </a:r>
            <a:r>
              <a:rPr lang="ru-RU" altLang="ru-RU" sz="2000" b="1" dirty="0">
                <a:solidFill>
                  <a:srgbClr val="414142"/>
                </a:solidFill>
                <a:latin typeface="Arial Narrow" panose="020B0606020202030204" pitchFamily="34" charset="0"/>
              </a:rPr>
              <a:t>- </a:t>
            </a:r>
            <a:r>
              <a:rPr lang="ru-RU" altLang="ru-RU" sz="2000" b="1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контролеры</a:t>
            </a:r>
            <a:endParaRPr lang="ru-RU" altLang="ru-RU" sz="2000" b="1" dirty="0">
              <a:solidFill>
                <a:srgbClr val="414142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48487" name="Группа 5"/>
          <p:cNvGrpSpPr>
            <a:grpSpLocks/>
          </p:cNvGrpSpPr>
          <p:nvPr/>
        </p:nvGrpSpPr>
        <p:grpSpPr bwMode="auto">
          <a:xfrm>
            <a:off x="0" y="2060848"/>
            <a:ext cx="6156176" cy="3962615"/>
            <a:chOff x="1547664" y="1430196"/>
            <a:chExt cx="6192688" cy="3904833"/>
          </a:xfrm>
        </p:grpSpPr>
        <p:sp>
          <p:nvSpPr>
            <p:cNvPr id="9" name="Овал 8"/>
            <p:cNvSpPr/>
            <p:nvPr/>
          </p:nvSpPr>
          <p:spPr>
            <a:xfrm>
              <a:off x="1547664" y="1430196"/>
              <a:ext cx="6192688" cy="3904833"/>
            </a:xfrm>
            <a:prstGeom prst="ellipse">
              <a:avLst/>
            </a:prstGeom>
            <a:noFill/>
            <a:ln w="19050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9" tIns="45685" rIns="91369" bIns="4568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0" name="Овал 9"/>
            <p:cNvSpPr/>
            <p:nvPr/>
          </p:nvSpPr>
          <p:spPr>
            <a:xfrm>
              <a:off x="2000544" y="1816796"/>
              <a:ext cx="5257067" cy="3168774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9" tIns="45685" rIns="91369" bIns="4568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1" name="Овал 10"/>
            <p:cNvSpPr/>
            <p:nvPr/>
          </p:nvSpPr>
          <p:spPr>
            <a:xfrm>
              <a:off x="2556278" y="2248978"/>
              <a:ext cx="4104128" cy="2304409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 w="19050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9" tIns="45685" rIns="91369" bIns="4568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2" name="Овал 11"/>
            <p:cNvSpPr/>
            <p:nvPr/>
          </p:nvSpPr>
          <p:spPr>
            <a:xfrm>
              <a:off x="3478628" y="2691290"/>
              <a:ext cx="2222931" cy="1529520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 w="19050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9" tIns="45685" rIns="91369" bIns="4568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3504005" y="2971967"/>
              <a:ext cx="2173718" cy="1005840"/>
            </a:xfrm>
            <a:prstGeom prst="rect">
              <a:avLst/>
            </a:prstGeom>
          </p:spPr>
          <p:txBody>
            <a:bodyPr spcFirstLastPara="1" wrap="none" lIns="91369" tIns="45685" rIns="91369" bIns="45685">
              <a:prstTxWarp prst="textArchUp">
                <a:avLst/>
              </a:prstTxWarp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b="1" dirty="0">
                  <a:solidFill>
                    <a:srgbClr val="414142"/>
                  </a:solidFill>
                  <a:latin typeface="Arial"/>
                  <a:cs typeface="Arial"/>
                </a:rPr>
                <a:t>Менеджмент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771800" y="2537647"/>
              <a:ext cx="3669999" cy="2547537"/>
            </a:xfrm>
            <a:prstGeom prst="rect">
              <a:avLst/>
            </a:prstGeom>
          </p:spPr>
          <p:txBody>
            <a:bodyPr spcFirstLastPara="1" wrap="none" lIns="91369" tIns="45685" rIns="91369" bIns="45685">
              <a:prstTxWarp prst="textArchUp">
                <a:avLst/>
              </a:prstTxWarp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dirty="0">
                  <a:solidFill>
                    <a:srgbClr val="414142"/>
                  </a:solidFill>
                  <a:latin typeface="Arial"/>
                  <a:cs typeface="Arial"/>
                </a:rPr>
                <a:t>Управление рисками + КРД 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3483181" y="4337847"/>
              <a:ext cx="2336843" cy="447636"/>
            </a:xfrm>
            <a:prstGeom prst="rect">
              <a:avLst/>
            </a:prstGeom>
          </p:spPr>
          <p:txBody>
            <a:bodyPr spcFirstLastPara="1" wrap="none" lIns="91369" tIns="45685" rIns="91369" bIns="45685">
              <a:prstTxWarp prst="textArchDown">
                <a:avLst/>
              </a:prstTxWarp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dirty="0">
                  <a:solidFill>
                    <a:srgbClr val="414142"/>
                  </a:solidFill>
                  <a:latin typeface="Arial"/>
                  <a:cs typeface="Arial"/>
                </a:rPr>
                <a:t>Внутренний аудит</a:t>
              </a:r>
            </a:p>
          </p:txBody>
        </p:sp>
        <p:pic>
          <p:nvPicPr>
            <p:cNvPr id="148498" name="Picture 2" descr="Материалы за 2013 год &quot; Севастопольская газета &quot;Вести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223"/>
            <a:stretch>
              <a:fillRect/>
            </a:stretch>
          </p:blipFill>
          <p:spPr bwMode="auto">
            <a:xfrm>
              <a:off x="4100179" y="3095179"/>
              <a:ext cx="941557" cy="8826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Прямоугольник 17"/>
            <p:cNvSpPr/>
            <p:nvPr/>
          </p:nvSpPr>
          <p:spPr>
            <a:xfrm>
              <a:off x="1763688" y="1714208"/>
              <a:ext cx="5709740" cy="3052372"/>
            </a:xfrm>
            <a:prstGeom prst="rect">
              <a:avLst/>
            </a:prstGeom>
          </p:spPr>
          <p:txBody>
            <a:bodyPr spcFirstLastPara="1" wrap="none" lIns="91369" tIns="45685" rIns="91369" bIns="45685">
              <a:prstTxWarp prst="textArchUp">
                <a:avLst/>
              </a:prstTxWarp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>
                  <a:solidFill>
                    <a:srgbClr val="414142"/>
                  </a:solidFill>
                  <a:latin typeface="Arial"/>
                  <a:cs typeface="Arial"/>
                </a:rPr>
                <a:t>Контроль заинтересованных сторон</a:t>
              </a:r>
            </a:p>
          </p:txBody>
        </p:sp>
      </p:grpSp>
      <p:cxnSp>
        <p:nvCxnSpPr>
          <p:cNvPr id="19" name="Соединительная линия уступом 18"/>
          <p:cNvCxnSpPr/>
          <p:nvPr/>
        </p:nvCxnSpPr>
        <p:spPr>
          <a:xfrm>
            <a:off x="510130" y="1964059"/>
            <a:ext cx="5676194" cy="4468508"/>
          </a:xfrm>
          <a:prstGeom prst="bentConnector3">
            <a:avLst>
              <a:gd name="adj1" fmla="val 100342"/>
            </a:avLst>
          </a:prstGeom>
          <a:noFill/>
          <a:ln w="19050" cap="flat" cmpd="sng" algn="ctr">
            <a:solidFill>
              <a:srgbClr val="B12726"/>
            </a:solidFill>
            <a:prstDash val="solid"/>
          </a:ln>
          <a:effectLst/>
        </p:spPr>
      </p:cxnSp>
      <p:sp>
        <p:nvSpPr>
          <p:cNvPr id="2" name="TextBox 1"/>
          <p:cNvSpPr txBox="1"/>
          <p:nvPr/>
        </p:nvSpPr>
        <p:spPr>
          <a:xfrm>
            <a:off x="7236296" y="4042155"/>
            <a:ext cx="1728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 Narrow" panose="020B0606020202030204" pitchFamily="34" charset="0"/>
              </a:rPr>
              <a:t>Активный контроль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236296" y="5011525"/>
            <a:ext cx="1728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 Narrow" panose="020B0606020202030204" pitchFamily="34" charset="0"/>
              </a:rPr>
              <a:t>Реактивный контроль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6516216" y="4198313"/>
            <a:ext cx="576064" cy="382815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6516216" y="5085184"/>
            <a:ext cx="576064" cy="380601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2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1825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ru-RU" sz="2400" dirty="0" smtClean="0">
                <a:latin typeface="Arial Narrow" panose="020B0606020202030204" pitchFamily="34" charset="0"/>
              </a:rPr>
              <a:t>СИСТЕМА КОНТРОЛЯ ЗАКУПОК В АТОМНОЙ ОТРАСЛИ</a:t>
            </a:r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B2863-D3E7-4FE5-BE8D-39DF38077363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4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25606" name="Rectangle 6"/>
          <p:cNvSpPr>
            <a:spLocks noChangeArrowheads="1"/>
          </p:cNvSpPr>
          <p:nvPr/>
        </p:nvSpPr>
        <p:spPr bwMode="auto">
          <a:xfrm>
            <a:off x="1079500" y="1916833"/>
            <a:ext cx="3168650" cy="936104"/>
          </a:xfrm>
          <a:prstGeom prst="rect">
            <a:avLst/>
          </a:prstGeom>
          <a:solidFill>
            <a:srgbClr val="7F0F03"/>
          </a:solidFill>
          <a:ln w="9525">
            <a:solidFill>
              <a:srgbClr val="7F0F03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«Общественный» контроль </a:t>
            </a: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контроль заинтересованной </a:t>
            </a: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тороны</a:t>
            </a: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)</a:t>
            </a:r>
            <a:endParaRPr lang="ru-RU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5607" name="Rectangle 7"/>
          <p:cNvSpPr>
            <a:spLocks noChangeArrowheads="1"/>
          </p:cNvSpPr>
          <p:nvPr/>
        </p:nvSpPr>
        <p:spPr bwMode="auto">
          <a:xfrm>
            <a:off x="5785325" y="1916833"/>
            <a:ext cx="1997351" cy="953338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Внутренний </a:t>
            </a: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онтроль </a:t>
            </a:r>
          </a:p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223-ФЗ и прочие)</a:t>
            </a:r>
            <a:endParaRPr lang="ru-RU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5608" name="Rectangle 10"/>
          <p:cNvSpPr>
            <a:spLocks noChangeArrowheads="1"/>
          </p:cNvSpPr>
          <p:nvPr/>
        </p:nvSpPr>
        <p:spPr bwMode="auto">
          <a:xfrm>
            <a:off x="475381" y="4021108"/>
            <a:ext cx="3487020" cy="1305447"/>
          </a:xfrm>
          <a:prstGeom prst="rect">
            <a:avLst/>
          </a:prstGeom>
          <a:solidFill>
            <a:schemeClr val="bg1"/>
          </a:solidFill>
          <a:ln w="9525">
            <a:solidFill>
              <a:srgbClr val="7F0F03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 smtClean="0">
                <a:solidFill>
                  <a:srgbClr val="7F0F03"/>
                </a:solidFill>
                <a:latin typeface="Arial Narrow" panose="020B0606020202030204" pitchFamily="34" charset="0"/>
              </a:rPr>
              <a:t>ОТКРЫТЫЕ</a:t>
            </a:r>
            <a:r>
              <a:rPr lang="ru-RU" sz="1600" dirty="0" smtClean="0">
                <a:solidFill>
                  <a:srgbClr val="7F0F03"/>
                </a:solidFill>
                <a:latin typeface="Arial Narrow" panose="020B0606020202030204" pitchFamily="34" charset="0"/>
              </a:rPr>
              <a:t> ЗАКУПКИ И СВЕДЕНИЯ О ЗАКЛЮЧЕННЫХ ДОГОВОРАХ </a:t>
            </a:r>
            <a:endParaRPr lang="ru-RU" sz="1600" dirty="0">
              <a:solidFill>
                <a:srgbClr val="7F0F03"/>
              </a:solidFill>
              <a:latin typeface="Arial Narrow" panose="020B0606020202030204" pitchFamily="34" charset="0"/>
            </a:endParaRPr>
          </a:p>
        </p:txBody>
      </p:sp>
      <p:sp>
        <p:nvSpPr>
          <p:cNvPr id="25609" name="Rectangle 11"/>
          <p:cNvSpPr>
            <a:spLocks noChangeArrowheads="1"/>
          </p:cNvSpPr>
          <p:nvPr/>
        </p:nvSpPr>
        <p:spPr bwMode="auto">
          <a:xfrm>
            <a:off x="4635769" y="4002210"/>
            <a:ext cx="4273437" cy="128163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dirty="0" smtClean="0">
                <a:solidFill>
                  <a:srgbClr val="7F0F03"/>
                </a:solidFill>
                <a:latin typeface="Arial" charset="0"/>
                <a:cs typeface="Arial" charset="0"/>
              </a:rPr>
              <a:t>ВСЕ ЗАКУПКИ, ВКЛЮЧАЯ </a:t>
            </a:r>
            <a:r>
              <a:rPr lang="ru-RU" sz="1400" b="1" dirty="0" smtClean="0">
                <a:solidFill>
                  <a:srgbClr val="7F0F03"/>
                </a:solidFill>
                <a:latin typeface="Arial" charset="0"/>
                <a:cs typeface="Arial" charset="0"/>
              </a:rPr>
              <a:t>ЗАКРЫТЫЕ И НЕКОНКУРЕНТНЫЕ ЗАКУПКИ</a:t>
            </a:r>
            <a:r>
              <a:rPr lang="ru-RU" sz="1400" dirty="0" smtClean="0">
                <a:solidFill>
                  <a:srgbClr val="7F0F03"/>
                </a:solidFill>
                <a:latin typeface="Arial" charset="0"/>
                <a:cs typeface="Arial" charset="0"/>
              </a:rPr>
              <a:t>  </a:t>
            </a:r>
            <a:endParaRPr lang="ru-RU" sz="1400" dirty="0">
              <a:solidFill>
                <a:srgbClr val="7F0F03"/>
              </a:solidFill>
              <a:latin typeface="Arial" charset="0"/>
              <a:cs typeface="Arial" charset="0"/>
            </a:endParaRPr>
          </a:p>
        </p:txBody>
      </p:sp>
      <p:sp>
        <p:nvSpPr>
          <p:cNvPr id="25610" name="Line 12"/>
          <p:cNvSpPr>
            <a:spLocks noChangeShapeType="1"/>
          </p:cNvSpPr>
          <p:nvPr/>
        </p:nvSpPr>
        <p:spPr bwMode="auto">
          <a:xfrm flipH="1">
            <a:off x="2027486" y="2852937"/>
            <a:ext cx="646113" cy="115093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 i="1">
              <a:solidFill>
                <a:srgbClr val="414142"/>
              </a:solidFill>
              <a:latin typeface="Arial" charset="0"/>
              <a:cs typeface="Arial" charset="0"/>
            </a:endParaRPr>
          </a:p>
        </p:txBody>
      </p:sp>
      <p:sp>
        <p:nvSpPr>
          <p:cNvPr id="25611" name="Line 13"/>
          <p:cNvSpPr>
            <a:spLocks noChangeShapeType="1"/>
          </p:cNvSpPr>
          <p:nvPr/>
        </p:nvSpPr>
        <p:spPr bwMode="auto">
          <a:xfrm>
            <a:off x="5914876" y="2870171"/>
            <a:ext cx="647700" cy="115093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 i="1">
              <a:solidFill>
                <a:srgbClr val="414142"/>
              </a:solidFill>
              <a:latin typeface="Arial" charset="0"/>
              <a:cs typeface="Arial" charset="0"/>
            </a:endParaRPr>
          </a:p>
        </p:txBody>
      </p:sp>
      <p:sp>
        <p:nvSpPr>
          <p:cNvPr id="25613" name="Text Box 21"/>
          <p:cNvSpPr txBox="1">
            <a:spLocks noChangeArrowheads="1"/>
          </p:cNvSpPr>
          <p:nvPr/>
        </p:nvSpPr>
        <p:spPr bwMode="auto">
          <a:xfrm>
            <a:off x="4036700" y="4445231"/>
            <a:ext cx="50323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400" i="1" dirty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+</a:t>
            </a:r>
          </a:p>
        </p:txBody>
      </p:sp>
      <p:sp>
        <p:nvSpPr>
          <p:cNvPr id="12" name="Скругленная прямоугольная выноска 11"/>
          <p:cNvSpPr/>
          <p:nvPr/>
        </p:nvSpPr>
        <p:spPr bwMode="auto">
          <a:xfrm>
            <a:off x="6723360" y="3187991"/>
            <a:ext cx="2214578" cy="529042"/>
          </a:xfrm>
          <a:prstGeom prst="wedgeRoundRectCallout">
            <a:avLst>
              <a:gd name="adj1" fmla="val -71490"/>
              <a:gd name="adj2" fmla="val -9244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ru-RU" sz="1100" i="1" dirty="0" smtClean="0">
                <a:solidFill>
                  <a:srgbClr val="414142"/>
                </a:solidFill>
                <a:latin typeface="Arial" charset="0"/>
                <a:cs typeface="Arial" charset="0"/>
              </a:rPr>
              <a:t>Выездные и камеральные  проверки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179387" y="5845876"/>
            <a:ext cx="1979612" cy="480094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 Narrow" panose="020B0606020202030204" pitchFamily="34" charset="0"/>
              </a:rPr>
              <a:t>ФАС России</a:t>
            </a: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2350542" y="5820428"/>
            <a:ext cx="2285228" cy="50554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 Narrow" panose="020B0606020202030204" pitchFamily="34" charset="0"/>
              </a:rPr>
              <a:t>Отраслевые органы по рассмотрению жалоб (ЦАК)</a:t>
            </a:r>
          </a:p>
        </p:txBody>
      </p:sp>
      <p:cxnSp>
        <p:nvCxnSpPr>
          <p:cNvPr id="6" name="Прямая со стрелкой 5"/>
          <p:cNvCxnSpPr>
            <a:stCxn id="25608" idx="2"/>
            <a:endCxn id="3" idx="0"/>
          </p:cNvCxnSpPr>
          <p:nvPr/>
        </p:nvCxnSpPr>
        <p:spPr bwMode="auto">
          <a:xfrm flipH="1">
            <a:off x="1169193" y="5326555"/>
            <a:ext cx="1049698" cy="51932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8" name="Прямая со стрелкой 7"/>
          <p:cNvCxnSpPr>
            <a:stCxn id="25608" idx="2"/>
            <a:endCxn id="4" idx="0"/>
          </p:cNvCxnSpPr>
          <p:nvPr/>
        </p:nvCxnSpPr>
        <p:spPr bwMode="auto">
          <a:xfrm>
            <a:off x="2218891" y="5326555"/>
            <a:ext cx="1274265" cy="49387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1690568" y="5514255"/>
            <a:ext cx="11521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 smtClean="0"/>
              <a:t>Жалобы</a:t>
            </a:r>
            <a:endParaRPr lang="ru-RU" sz="1400" i="1" dirty="0"/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4932819" y="5820428"/>
            <a:ext cx="2849858" cy="492272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 Narrow" panose="020B0606020202030204" pitchFamily="34" charset="0"/>
              </a:rPr>
              <a:t>«Горячая линия»  ГК Росатом</a:t>
            </a:r>
            <a:r>
              <a:rPr kumimoji="0" lang="ru-RU" sz="1400" b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 Narrow" panose="020B0606020202030204" pitchFamily="34" charset="0"/>
              </a:rPr>
              <a:t> </a:t>
            </a:r>
            <a:r>
              <a:rPr kumimoji="0" lang="ru-RU" sz="1400" b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 Narrow" panose="020B0606020202030204" pitchFamily="34" charset="0"/>
              </a:rPr>
              <a:t>по борьбе с коррупцией </a:t>
            </a:r>
          </a:p>
        </p:txBody>
      </p:sp>
      <p:cxnSp>
        <p:nvCxnSpPr>
          <p:cNvPr id="20" name="Прямая со стрелкой 19"/>
          <p:cNvCxnSpPr>
            <a:stCxn id="25608" idx="2"/>
            <a:endCxn id="29" idx="0"/>
          </p:cNvCxnSpPr>
          <p:nvPr/>
        </p:nvCxnSpPr>
        <p:spPr bwMode="auto">
          <a:xfrm>
            <a:off x="2218891" y="5326555"/>
            <a:ext cx="4138857" cy="49387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1" name="TextBox 20"/>
          <p:cNvSpPr txBox="1"/>
          <p:nvPr/>
        </p:nvSpPr>
        <p:spPr>
          <a:xfrm>
            <a:off x="5202036" y="5512651"/>
            <a:ext cx="17986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 smtClean="0"/>
              <a:t>Обращения</a:t>
            </a:r>
            <a:endParaRPr lang="ru-RU" sz="1400" i="1" dirty="0"/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4618746" y="1916833"/>
            <a:ext cx="1166580" cy="945397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9525">
            <a:solidFill>
              <a:schemeClr val="tx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едомственный контроль (44-ФЗ</a:t>
            </a: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)</a:t>
            </a:r>
            <a:endParaRPr lang="ru-RU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755576" y="1556792"/>
            <a:ext cx="7416824" cy="1512168"/>
          </a:xfrm>
          <a:prstGeom prst="rect">
            <a:avLst/>
          </a:prstGeom>
          <a:noFill/>
          <a:ln w="190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26392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0"/>
            <a:ext cx="7849493" cy="962025"/>
          </a:xfrm>
        </p:spPr>
        <p:txBody>
          <a:bodyPr/>
          <a:lstStyle/>
          <a:p>
            <a:pPr algn="ctr"/>
            <a:r>
              <a:rPr lang="ru-RU" sz="2400" cap="all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Показатели обжалований закупок в атомной отрасли</a:t>
            </a:r>
            <a:endParaRPr lang="ru-RU" sz="2400" cap="all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6B1FF1-CCDF-4618-AA96-E8A119FBE8B6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5</a:t>
            </a:fld>
            <a:endParaRPr lang="ru-RU" dirty="0">
              <a:solidFill>
                <a:srgbClr val="003274"/>
              </a:solidFill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48320766"/>
              </p:ext>
            </p:extLst>
          </p:nvPr>
        </p:nvGraphicFramePr>
        <p:xfrm>
          <a:off x="107504" y="2348880"/>
          <a:ext cx="4392488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485653137"/>
              </p:ext>
            </p:extLst>
          </p:nvPr>
        </p:nvGraphicFramePr>
        <p:xfrm>
          <a:off x="4283968" y="2636912"/>
          <a:ext cx="4806527" cy="3106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12"/>
          <p:cNvSpPr>
            <a:spLocks noChangeArrowheads="1"/>
          </p:cNvSpPr>
          <p:nvPr/>
        </p:nvSpPr>
        <p:spPr bwMode="auto">
          <a:xfrm>
            <a:off x="251520" y="1476118"/>
            <a:ext cx="4032448" cy="64389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/>
            <a:r>
              <a:rPr lang="ru-RU" altLang="de-DE" sz="2092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ОТНОСИТЕЛЬНЫЕ ПОКАЗАТЕЛИ ОБЖАЛОВАНИЙ </a:t>
            </a:r>
            <a:endParaRPr lang="ru-RU" altLang="de-DE" sz="2092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Text12"/>
          <p:cNvSpPr>
            <a:spLocks noChangeArrowheads="1"/>
          </p:cNvSpPr>
          <p:nvPr/>
        </p:nvSpPr>
        <p:spPr bwMode="auto">
          <a:xfrm>
            <a:off x="4572000" y="1484784"/>
            <a:ext cx="4320480" cy="64389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/>
            <a:r>
              <a:rPr lang="ru-RU" altLang="de-DE" sz="2092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ПОСТУПЛЕНИЕ ЖАЛОБ И ПРЯМАЯ ЭКОНОМИЯ</a:t>
            </a:r>
            <a:endParaRPr lang="ru-RU" altLang="de-DE" sz="2092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Line 5"/>
          <p:cNvSpPr>
            <a:spLocks noChangeShapeType="1"/>
          </p:cNvSpPr>
          <p:nvPr/>
        </p:nvSpPr>
        <p:spPr bwMode="auto">
          <a:xfrm>
            <a:off x="251520" y="2636912"/>
            <a:ext cx="3960440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13" name="Line 5"/>
          <p:cNvSpPr>
            <a:spLocks noChangeShapeType="1"/>
          </p:cNvSpPr>
          <p:nvPr/>
        </p:nvSpPr>
        <p:spPr bwMode="auto">
          <a:xfrm>
            <a:off x="4572000" y="2624219"/>
            <a:ext cx="4320480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502822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>
            <a:spLocks noGrp="1" noChangeArrowheads="1"/>
          </p:cNvSpPr>
          <p:nvPr>
            <p:ph type="title"/>
          </p:nvPr>
        </p:nvSpPr>
        <p:spPr>
          <a:xfrm>
            <a:off x="251520" y="71128"/>
            <a:ext cx="7920881" cy="83185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2600"/>
              </a:lnSpc>
            </a:pPr>
            <a:r>
              <a:rPr lang="ru-RU" sz="2400" dirty="0" smtClean="0">
                <a:latin typeface="Arial Narrow" panose="020B0606020202030204" pitchFamily="34" charset="0"/>
                <a:cs typeface="Arial" pitchFamily="34" charset="0"/>
              </a:rPr>
              <a:t>ВЫЯВЛЕНИЕ НАРУШЕНИЙ  ПО ЖАЛОБАМ</a:t>
            </a:r>
            <a:endParaRPr lang="en-US" sz="2400" dirty="0">
              <a:latin typeface="Arial Narrow" panose="020B0606020202030204" pitchFamily="34" charset="0"/>
            </a:endParaRPr>
          </a:p>
        </p:txBody>
      </p:sp>
      <p:sp>
        <p:nvSpPr>
          <p:cNvPr id="461" name="Номер слайда 3"/>
          <p:cNvSpPr txBox="1">
            <a:spLocks/>
          </p:cNvSpPr>
          <p:nvPr/>
        </p:nvSpPr>
        <p:spPr>
          <a:xfrm>
            <a:off x="8337426" y="6472288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>
              <a:defRPr sz="2200" b="1">
                <a:solidFill>
                  <a:srgbClr val="003274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A1B9C2B-DD5C-4693-AD32-2F414A70F2E0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dirty="0"/>
          </a:p>
        </p:txBody>
      </p:sp>
      <p:sp>
        <p:nvSpPr>
          <p:cNvPr id="10" name="Line 5"/>
          <p:cNvSpPr>
            <a:spLocks noChangeShapeType="1"/>
          </p:cNvSpPr>
          <p:nvPr/>
        </p:nvSpPr>
        <p:spPr bwMode="auto">
          <a:xfrm>
            <a:off x="514583" y="1484784"/>
            <a:ext cx="5034794" cy="0"/>
          </a:xfrm>
          <a:prstGeom prst="line">
            <a:avLst/>
          </a:prstGeom>
          <a:noFill/>
          <a:ln w="22225">
            <a:solidFill>
              <a:sysClr val="window" lastClr="FFFFFF">
                <a:lumMod val="65000"/>
              </a:sysClr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 Narrow"/>
            </a:endParaRPr>
          </a:p>
        </p:txBody>
      </p:sp>
      <p:sp>
        <p:nvSpPr>
          <p:cNvPr id="11" name="Text12"/>
          <p:cNvSpPr>
            <a:spLocks noChangeArrowheads="1"/>
          </p:cNvSpPr>
          <p:nvPr/>
        </p:nvSpPr>
        <p:spPr bwMode="auto">
          <a:xfrm>
            <a:off x="539552" y="1052736"/>
            <a:ext cx="8280920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 fontAlgn="base">
              <a:spcBef>
                <a:spcPct val="0"/>
              </a:spcBef>
              <a:spcAft>
                <a:spcPct val="0"/>
              </a:spcAft>
            </a:pPr>
            <a:r>
              <a:rPr lang="ru-RU" altLang="de-DE" sz="2092" b="1" dirty="0" smtClean="0">
                <a:solidFill>
                  <a:srgbClr val="2C4155"/>
                </a:solidFill>
                <a:latin typeface="Arial Narrow"/>
              </a:rPr>
              <a:t> ВИДЫ НАРУШЕНИЙ</a:t>
            </a:r>
            <a:endParaRPr lang="ru-RU" altLang="de-DE" sz="2092" b="1" dirty="0">
              <a:solidFill>
                <a:srgbClr val="2C4155"/>
              </a:solidFill>
              <a:latin typeface="Arial Narrow"/>
            </a:endParaRPr>
          </a:p>
        </p:txBody>
      </p:sp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2535410"/>
              </p:ext>
            </p:extLst>
          </p:nvPr>
        </p:nvGraphicFramePr>
        <p:xfrm>
          <a:off x="237594" y="1556792"/>
          <a:ext cx="8703641" cy="4915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6196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Заголовок 1"/>
          <p:cNvSpPr>
            <a:spLocks noGrp="1"/>
          </p:cNvSpPr>
          <p:nvPr>
            <p:ph type="title"/>
          </p:nvPr>
        </p:nvSpPr>
        <p:spPr>
          <a:xfrm>
            <a:off x="307975" y="0"/>
            <a:ext cx="7632700" cy="962025"/>
          </a:xfrm>
          <a:ln algn="ctr"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r>
              <a:rPr lang="ru-RU" sz="2400" dirty="0" smtClean="0">
                <a:solidFill>
                  <a:srgbClr val="003274"/>
                </a:solidFill>
                <a:latin typeface="Arial Narrow" panose="020B0606020202030204" pitchFamily="34" charset="0"/>
                <a:ea typeface="+mn-ea"/>
              </a:rPr>
              <a:t>ПРИМЕР 1: ПРЕДОТВРАЩЕНИЕ НЕЭФФЕКТИВНОГО РАСХОДОВАНИЯ СРЕДСТВ</a:t>
            </a:r>
            <a:endParaRPr lang="ru-RU" altLang="ru-RU" sz="2400" dirty="0">
              <a:solidFill>
                <a:srgbClr val="003274"/>
              </a:solidFill>
              <a:latin typeface="Arial Narrow" panose="020B0606020202030204" pitchFamily="34" charset="0"/>
              <a:ea typeface="+mn-ea"/>
            </a:endParaRPr>
          </a:p>
        </p:txBody>
      </p:sp>
      <p:sp>
        <p:nvSpPr>
          <p:cNvPr id="13926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6448425"/>
            <a:ext cx="884237" cy="37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FCAFD9DF-1677-49F9-AB13-56B4FCA59FA5}" type="slidenum">
              <a:rPr lang="ru-RU" altLang="ru-RU" sz="2000" smtClean="0">
                <a:solidFill>
                  <a:srgbClr val="003274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7</a:t>
            </a:fld>
            <a:endParaRPr lang="ru-RU" altLang="ru-RU" sz="2000" smtClean="0">
              <a:solidFill>
                <a:srgbClr val="003274"/>
              </a:solidFill>
            </a:endParaRPr>
          </a:p>
        </p:txBody>
      </p:sp>
      <p:cxnSp>
        <p:nvCxnSpPr>
          <p:cNvPr id="27" name="Прямая со стрелкой 26"/>
          <p:cNvCxnSpPr/>
          <p:nvPr/>
        </p:nvCxnSpPr>
        <p:spPr bwMode="auto">
          <a:xfrm>
            <a:off x="323850" y="2981325"/>
            <a:ext cx="6964363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Овал 28"/>
          <p:cNvSpPr/>
          <p:nvPr/>
        </p:nvSpPr>
        <p:spPr bwMode="auto">
          <a:xfrm>
            <a:off x="3603625" y="2909888"/>
            <a:ext cx="144463" cy="14446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39270" name="Прямоугольник 24"/>
          <p:cNvSpPr>
            <a:spLocks noChangeArrowheads="1"/>
          </p:cNvSpPr>
          <p:nvPr/>
        </p:nvSpPr>
        <p:spPr bwMode="auto">
          <a:xfrm>
            <a:off x="573088" y="3575050"/>
            <a:ext cx="15494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400" dirty="0" smtClean="0">
                <a:solidFill>
                  <a:srgbClr val="414142"/>
                </a:solidFill>
              </a:rPr>
              <a:t>Извещение о конкурсе</a:t>
            </a:r>
            <a:endParaRPr lang="ru-RU" altLang="ru-RU" sz="1400" dirty="0">
              <a:solidFill>
                <a:srgbClr val="414142"/>
              </a:solidFill>
            </a:endParaRPr>
          </a:p>
        </p:txBody>
      </p:sp>
      <p:sp>
        <p:nvSpPr>
          <p:cNvPr id="139271" name="Прямоугольник 45"/>
          <p:cNvSpPr>
            <a:spLocks noChangeArrowheads="1"/>
          </p:cNvSpPr>
          <p:nvPr/>
        </p:nvSpPr>
        <p:spPr bwMode="auto">
          <a:xfrm>
            <a:off x="723900" y="3108325"/>
            <a:ext cx="12477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400" b="1">
                <a:solidFill>
                  <a:srgbClr val="414142"/>
                </a:solidFill>
              </a:rPr>
              <a:t>20.10.2015</a:t>
            </a:r>
          </a:p>
        </p:txBody>
      </p:sp>
      <p:sp>
        <p:nvSpPr>
          <p:cNvPr id="32" name="Овал 31"/>
          <p:cNvSpPr/>
          <p:nvPr/>
        </p:nvSpPr>
        <p:spPr bwMode="auto">
          <a:xfrm>
            <a:off x="1276350" y="2909888"/>
            <a:ext cx="142875" cy="14446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39273" name="Прямоугольник 45"/>
          <p:cNvSpPr>
            <a:spLocks noChangeArrowheads="1"/>
          </p:cNvSpPr>
          <p:nvPr/>
        </p:nvSpPr>
        <p:spPr bwMode="auto">
          <a:xfrm>
            <a:off x="3116263" y="3109913"/>
            <a:ext cx="111918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400" b="1">
                <a:solidFill>
                  <a:srgbClr val="414142"/>
                </a:solidFill>
              </a:rPr>
              <a:t>30.10.2015</a:t>
            </a:r>
          </a:p>
        </p:txBody>
      </p:sp>
      <p:sp>
        <p:nvSpPr>
          <p:cNvPr id="34" name="Овал 33"/>
          <p:cNvSpPr/>
          <p:nvPr/>
        </p:nvSpPr>
        <p:spPr bwMode="auto">
          <a:xfrm>
            <a:off x="6073775" y="2909888"/>
            <a:ext cx="142875" cy="14446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39275" name="Прямоугольник 45"/>
          <p:cNvSpPr>
            <a:spLocks noChangeArrowheads="1"/>
          </p:cNvSpPr>
          <p:nvPr/>
        </p:nvSpPr>
        <p:spPr bwMode="auto">
          <a:xfrm>
            <a:off x="5529263" y="3109913"/>
            <a:ext cx="12303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400" b="1">
                <a:solidFill>
                  <a:srgbClr val="414142"/>
                </a:solidFill>
              </a:rPr>
              <a:t>11.11.2015</a:t>
            </a:r>
          </a:p>
        </p:txBody>
      </p:sp>
      <p:sp>
        <p:nvSpPr>
          <p:cNvPr id="139276" name="Прямоугольник 40"/>
          <p:cNvSpPr>
            <a:spLocks noChangeArrowheads="1"/>
          </p:cNvSpPr>
          <p:nvPr/>
        </p:nvSpPr>
        <p:spPr bwMode="auto">
          <a:xfrm>
            <a:off x="3027363" y="3467100"/>
            <a:ext cx="1296987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400" dirty="0">
                <a:solidFill>
                  <a:srgbClr val="414142"/>
                </a:solidFill>
              </a:rPr>
              <a:t>Заключение договора </a:t>
            </a:r>
          </a:p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400" dirty="0">
                <a:solidFill>
                  <a:srgbClr val="414142"/>
                </a:solidFill>
              </a:rPr>
              <a:t>(плановое)</a:t>
            </a:r>
          </a:p>
        </p:txBody>
      </p:sp>
      <p:sp>
        <p:nvSpPr>
          <p:cNvPr id="139277" name="TextBox 28"/>
          <p:cNvSpPr txBox="1">
            <a:spLocks noChangeArrowheads="1"/>
          </p:cNvSpPr>
          <p:nvPr/>
        </p:nvSpPr>
        <p:spPr bwMode="auto">
          <a:xfrm>
            <a:off x="573088" y="1268760"/>
            <a:ext cx="748444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b="1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Предмет закупки: </a:t>
            </a:r>
            <a:r>
              <a:rPr lang="ru-RU" altLang="ru-RU" sz="1800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Посев </a:t>
            </a:r>
            <a:r>
              <a:rPr lang="ru-RU" altLang="ru-RU" sz="1800" dirty="0">
                <a:solidFill>
                  <a:srgbClr val="414142"/>
                </a:solidFill>
                <a:latin typeface="Arial Narrow" panose="020B0606020202030204" pitchFamily="34" charset="0"/>
              </a:rPr>
              <a:t>травы </a:t>
            </a:r>
            <a:r>
              <a:rPr lang="ru-RU" altLang="ru-RU" sz="1800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на </a:t>
            </a:r>
            <a:r>
              <a:rPr lang="ru-RU" altLang="ru-RU" sz="1800" dirty="0">
                <a:solidFill>
                  <a:srgbClr val="414142"/>
                </a:solidFill>
                <a:latin typeface="Arial Narrow" panose="020B0606020202030204" pitchFamily="34" charset="0"/>
              </a:rPr>
              <a:t>территории </a:t>
            </a:r>
            <a:r>
              <a:rPr lang="ru-RU" altLang="ru-RU" sz="1800" dirty="0" err="1" smtClean="0">
                <a:solidFill>
                  <a:srgbClr val="414142"/>
                </a:solidFill>
                <a:latin typeface="Arial Narrow" panose="020B0606020202030204" pitchFamily="34" charset="0"/>
              </a:rPr>
              <a:t>Нововоронежской</a:t>
            </a:r>
            <a:r>
              <a:rPr lang="ru-RU" altLang="ru-RU" sz="1800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 АЭС-2 </a:t>
            </a:r>
          </a:p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b="1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НМЦ:  </a:t>
            </a:r>
            <a:r>
              <a:rPr lang="ru-RU" altLang="ru-RU" sz="1800" dirty="0">
                <a:solidFill>
                  <a:srgbClr val="414142"/>
                </a:solidFill>
                <a:latin typeface="Arial Narrow" panose="020B0606020202030204" pitchFamily="34" charset="0"/>
              </a:rPr>
              <a:t>19,2 млн руб.</a:t>
            </a:r>
          </a:p>
        </p:txBody>
      </p:sp>
      <p:sp>
        <p:nvSpPr>
          <p:cNvPr id="139278" name="Прямоугольник 40"/>
          <p:cNvSpPr>
            <a:spLocks noChangeArrowheads="1"/>
          </p:cNvSpPr>
          <p:nvPr/>
        </p:nvSpPr>
        <p:spPr bwMode="auto">
          <a:xfrm>
            <a:off x="5495925" y="3467100"/>
            <a:ext cx="1296988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400">
                <a:solidFill>
                  <a:srgbClr val="414142"/>
                </a:solidFill>
              </a:rPr>
              <a:t>Исполнение договора </a:t>
            </a:r>
          </a:p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400">
                <a:solidFill>
                  <a:srgbClr val="414142"/>
                </a:solidFill>
              </a:rPr>
              <a:t>(плановое)</a:t>
            </a:r>
          </a:p>
        </p:txBody>
      </p:sp>
      <p:sp>
        <p:nvSpPr>
          <p:cNvPr id="3" name="Выноска 2 (без границы) 2"/>
          <p:cNvSpPr/>
          <p:nvPr/>
        </p:nvSpPr>
        <p:spPr>
          <a:xfrm>
            <a:off x="6711950" y="2420938"/>
            <a:ext cx="1081088" cy="360362"/>
          </a:xfrm>
          <a:prstGeom prst="callout2">
            <a:avLst/>
          </a:prstGeom>
          <a:noFill/>
          <a:ln>
            <a:solidFill>
              <a:srgbClr val="0048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39280" name="Прямоугольник 24"/>
          <p:cNvSpPr>
            <a:spLocks noChangeArrowheads="1"/>
          </p:cNvSpPr>
          <p:nvPr/>
        </p:nvSpPr>
        <p:spPr bwMode="auto">
          <a:xfrm>
            <a:off x="6516688" y="2052638"/>
            <a:ext cx="2159000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>
                <a:solidFill>
                  <a:srgbClr val="0048A8"/>
                </a:solidFill>
              </a:rPr>
              <a:t>Ср. температура</a:t>
            </a:r>
            <a:endParaRPr lang="en-US" altLang="ru-RU" sz="1800">
              <a:solidFill>
                <a:srgbClr val="0048A8"/>
              </a:solidFill>
            </a:endParaRPr>
          </a:p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ru-RU" sz="2400" b="1">
                <a:solidFill>
                  <a:srgbClr val="0048A8"/>
                </a:solidFill>
              </a:rPr>
              <a:t>-1</a:t>
            </a:r>
            <a:r>
              <a:rPr lang="ru-RU" altLang="ru-RU" sz="2400" b="1">
                <a:solidFill>
                  <a:srgbClr val="0048A8"/>
                </a:solidFill>
              </a:rPr>
              <a:t> </a:t>
            </a:r>
            <a:r>
              <a:rPr lang="ru-RU" altLang="ru-RU" sz="2400" b="1" baseline="30000">
                <a:solidFill>
                  <a:srgbClr val="0048A8"/>
                </a:solidFill>
              </a:rPr>
              <a:t>о</a:t>
            </a:r>
            <a:r>
              <a:rPr lang="ru-RU" altLang="ru-RU" sz="2400" b="1">
                <a:solidFill>
                  <a:srgbClr val="0048A8"/>
                </a:solidFill>
              </a:rPr>
              <a:t>С</a:t>
            </a:r>
          </a:p>
        </p:txBody>
      </p:sp>
      <p:sp>
        <p:nvSpPr>
          <p:cNvPr id="139281" name="Прямоугольник 40"/>
          <p:cNvSpPr>
            <a:spLocks noChangeArrowheads="1"/>
          </p:cNvSpPr>
          <p:nvPr/>
        </p:nvSpPr>
        <p:spPr bwMode="auto">
          <a:xfrm>
            <a:off x="1763689" y="4097338"/>
            <a:ext cx="1953292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2400" b="1" dirty="0">
              <a:solidFill>
                <a:srgbClr val="008000"/>
              </a:solidFill>
            </a:endParaRPr>
          </a:p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dirty="0" smtClean="0">
                <a:solidFill>
                  <a:srgbClr val="7F0F03"/>
                </a:solidFill>
              </a:rPr>
              <a:t>Поступление жалобы</a:t>
            </a:r>
          </a:p>
        </p:txBody>
      </p:sp>
      <p:sp>
        <p:nvSpPr>
          <p:cNvPr id="61" name="Стрелка вниз 60"/>
          <p:cNvSpPr/>
          <p:nvPr/>
        </p:nvSpPr>
        <p:spPr>
          <a:xfrm>
            <a:off x="2590650" y="3218646"/>
            <a:ext cx="433387" cy="907180"/>
          </a:xfrm>
          <a:prstGeom prst="downArrow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21" name="Овал 20"/>
          <p:cNvSpPr/>
          <p:nvPr/>
        </p:nvSpPr>
        <p:spPr bwMode="auto">
          <a:xfrm>
            <a:off x="2735907" y="2917826"/>
            <a:ext cx="142875" cy="144462"/>
          </a:xfrm>
          <a:prstGeom prst="ellipse">
            <a:avLst/>
          </a:prstGeom>
          <a:solidFill>
            <a:srgbClr val="7F0F03"/>
          </a:solidFill>
          <a:ln>
            <a:solidFill>
              <a:srgbClr val="7F0F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7F0F03"/>
              </a:solidFill>
            </a:endParaRPr>
          </a:p>
        </p:txBody>
      </p:sp>
      <p:sp>
        <p:nvSpPr>
          <p:cNvPr id="22" name="Стрелка вниз 21"/>
          <p:cNvSpPr/>
          <p:nvPr/>
        </p:nvSpPr>
        <p:spPr>
          <a:xfrm>
            <a:off x="4572000" y="3245789"/>
            <a:ext cx="433387" cy="907180"/>
          </a:xfrm>
          <a:prstGeom prst="downArrow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23" name="Овал 22"/>
          <p:cNvSpPr/>
          <p:nvPr/>
        </p:nvSpPr>
        <p:spPr bwMode="auto">
          <a:xfrm>
            <a:off x="4717255" y="2925764"/>
            <a:ext cx="142875" cy="144462"/>
          </a:xfrm>
          <a:prstGeom prst="ellipse">
            <a:avLst/>
          </a:prstGeom>
          <a:solidFill>
            <a:srgbClr val="7F0F03"/>
          </a:solidFill>
          <a:ln>
            <a:solidFill>
              <a:srgbClr val="7F0F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7F0F03"/>
              </a:solidFill>
            </a:endParaRPr>
          </a:p>
        </p:txBody>
      </p:sp>
      <p:sp>
        <p:nvSpPr>
          <p:cNvPr id="24" name="Прямоугольник 40"/>
          <p:cNvSpPr>
            <a:spLocks noChangeArrowheads="1"/>
          </p:cNvSpPr>
          <p:nvPr/>
        </p:nvSpPr>
        <p:spPr bwMode="auto">
          <a:xfrm>
            <a:off x="3806030" y="4365104"/>
            <a:ext cx="2206129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800" dirty="0" smtClean="0">
                <a:solidFill>
                  <a:srgbClr val="7F0F03"/>
                </a:solidFill>
              </a:rPr>
              <a:t>Жалоба признана необоснованной.</a:t>
            </a:r>
          </a:p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800" dirty="0" smtClean="0">
                <a:solidFill>
                  <a:srgbClr val="7F0F03"/>
                </a:solidFill>
              </a:rPr>
              <a:t>Закупка отменена</a:t>
            </a:r>
            <a:endParaRPr lang="ru-RU" altLang="ru-RU" sz="1800" dirty="0">
              <a:solidFill>
                <a:srgbClr val="7F0F0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7283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1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084" t="3413"/>
          <a:stretch>
            <a:fillRect/>
          </a:stretch>
        </p:blipFill>
        <p:spPr bwMode="auto">
          <a:xfrm>
            <a:off x="5574704" y="2983880"/>
            <a:ext cx="2929831" cy="1643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6195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altLang="ru-RU" sz="24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ПРИМЕР 2: НЕПРАВОМЕРНОЕ ОТКЛОНЕНИЕ УЧАСТНИКА</a:t>
            </a:r>
          </a:p>
        </p:txBody>
      </p:sp>
      <p:sp>
        <p:nvSpPr>
          <p:cNvPr id="13619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6448425"/>
            <a:ext cx="884237" cy="3778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5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5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C558F92E-9994-43EC-A3D2-D41771CD7EED}" type="slidenum">
              <a:rPr lang="ru-RU" altLang="ru-RU" sz="2000" smtClean="0">
                <a:solidFill>
                  <a:srgbClr val="003274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8</a:t>
            </a:fld>
            <a:endParaRPr lang="ru-RU" altLang="ru-RU" sz="2000" smtClean="0">
              <a:solidFill>
                <a:srgbClr val="003274"/>
              </a:solidFill>
            </a:endParaRPr>
          </a:p>
        </p:txBody>
      </p:sp>
      <p:sp>
        <p:nvSpPr>
          <p:cNvPr id="136197" name="TextBox 25"/>
          <p:cNvSpPr txBox="1">
            <a:spLocks noChangeArrowheads="1"/>
          </p:cNvSpPr>
          <p:nvPr/>
        </p:nvSpPr>
        <p:spPr bwMode="auto">
          <a:xfrm>
            <a:off x="8008416" y="3190255"/>
            <a:ext cx="11636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5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5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b="1" dirty="0" smtClean="0">
                <a:solidFill>
                  <a:srgbClr val="008000"/>
                </a:solidFill>
              </a:rPr>
              <a:t>в 1,9 раз</a:t>
            </a:r>
          </a:p>
        </p:txBody>
      </p:sp>
      <p:sp>
        <p:nvSpPr>
          <p:cNvPr id="136208" name="TextBox 77"/>
          <p:cNvSpPr txBox="1">
            <a:spLocks noChangeArrowheads="1"/>
          </p:cNvSpPr>
          <p:nvPr/>
        </p:nvSpPr>
        <p:spPr bwMode="auto">
          <a:xfrm>
            <a:off x="695647" y="1268760"/>
            <a:ext cx="811525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5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5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b="1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Предмет закупки: </a:t>
            </a:r>
            <a:r>
              <a:rPr lang="ru-RU" altLang="ru-RU" sz="1800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поставка системы контроля зоны патрубков для Рост. АЭС</a:t>
            </a:r>
          </a:p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b="1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Начальная цена: </a:t>
            </a:r>
            <a:r>
              <a:rPr lang="ru-RU" altLang="ru-RU" sz="1800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70 млн.руб.  </a:t>
            </a:r>
          </a:p>
        </p:txBody>
      </p:sp>
      <p:sp>
        <p:nvSpPr>
          <p:cNvPr id="136211" name="TextBox 1"/>
          <p:cNvSpPr txBox="1">
            <a:spLocks noChangeArrowheads="1"/>
          </p:cNvSpPr>
          <p:nvPr/>
        </p:nvSpPr>
        <p:spPr bwMode="auto">
          <a:xfrm>
            <a:off x="606152" y="2623840"/>
            <a:ext cx="26797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5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5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400" dirty="0" smtClean="0">
                <a:solidFill>
                  <a:srgbClr val="414142"/>
                </a:solidFill>
              </a:rPr>
              <a:t>Первичные заявки, млн. руб.</a:t>
            </a:r>
          </a:p>
        </p:txBody>
      </p:sp>
      <p:sp>
        <p:nvSpPr>
          <p:cNvPr id="136212" name="TextBox 33"/>
          <p:cNvSpPr txBox="1">
            <a:spLocks noChangeArrowheads="1"/>
          </p:cNvSpPr>
          <p:nvPr/>
        </p:nvSpPr>
        <p:spPr bwMode="auto">
          <a:xfrm>
            <a:off x="5574704" y="2695848"/>
            <a:ext cx="2446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5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5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400" dirty="0" smtClean="0">
                <a:solidFill>
                  <a:srgbClr val="414142"/>
                </a:solidFill>
              </a:rPr>
              <a:t>Переторжка, млн. руб.</a:t>
            </a:r>
          </a:p>
        </p:txBody>
      </p:sp>
      <p:pic>
        <p:nvPicPr>
          <p:cNvPr id="13621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13" r="61301"/>
          <a:stretch>
            <a:fillRect/>
          </a:stretch>
        </p:blipFill>
        <p:spPr bwMode="auto">
          <a:xfrm>
            <a:off x="365423" y="2987056"/>
            <a:ext cx="2816224" cy="1639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6214" name="TextBox 36"/>
          <p:cNvSpPr txBox="1">
            <a:spLocks noChangeArrowheads="1"/>
          </p:cNvSpPr>
          <p:nvPr/>
        </p:nvSpPr>
        <p:spPr bwMode="auto">
          <a:xfrm>
            <a:off x="3196059" y="3138771"/>
            <a:ext cx="1711325" cy="138499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5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5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b="1" dirty="0" smtClean="0">
                <a:solidFill>
                  <a:srgbClr val="008000"/>
                </a:solidFill>
                <a:latin typeface="Arial Narrow" panose="020B0606020202030204" pitchFamily="34" charset="0"/>
              </a:rPr>
              <a:t>Жалоба обоснована:</a:t>
            </a:r>
          </a:p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dirty="0" smtClean="0">
                <a:solidFill>
                  <a:srgbClr val="008000"/>
                </a:solidFill>
                <a:latin typeface="Arial Narrow" panose="020B0606020202030204" pitchFamily="34" charset="0"/>
              </a:rPr>
              <a:t>РЕШЕНИЕ: допустить</a:t>
            </a:r>
          </a:p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dirty="0" smtClean="0">
                <a:solidFill>
                  <a:srgbClr val="008000"/>
                </a:solidFill>
                <a:latin typeface="Arial Narrow" panose="020B0606020202030204" pitchFamily="34" charset="0"/>
              </a:rPr>
              <a:t>к участию</a:t>
            </a:r>
          </a:p>
        </p:txBody>
      </p:sp>
      <p:cxnSp>
        <p:nvCxnSpPr>
          <p:cNvPr id="36" name="Прямая со стрелкой 35"/>
          <p:cNvCxnSpPr/>
          <p:nvPr/>
        </p:nvCxnSpPr>
        <p:spPr>
          <a:xfrm flipH="1" flipV="1">
            <a:off x="406697" y="2885455"/>
            <a:ext cx="0" cy="1395413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 flipH="1" flipV="1">
            <a:off x="5574704" y="2849835"/>
            <a:ext cx="0" cy="1395412"/>
          </a:xfrm>
          <a:prstGeom prst="straightConnector1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H="1" flipV="1">
            <a:off x="5574704" y="3050555"/>
            <a:ext cx="77416" cy="1588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 flipH="1">
            <a:off x="406697" y="3052143"/>
            <a:ext cx="132855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V="1">
            <a:off x="2987824" y="3701430"/>
            <a:ext cx="298028" cy="1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 стрелкой 82"/>
          <p:cNvCxnSpPr/>
          <p:nvPr/>
        </p:nvCxnSpPr>
        <p:spPr>
          <a:xfrm>
            <a:off x="5034458" y="3701430"/>
            <a:ext cx="401638" cy="0"/>
          </a:xfrm>
          <a:prstGeom prst="straightConnector1">
            <a:avLst/>
          </a:prstGeom>
          <a:ln w="19050"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 стрелкой 83"/>
          <p:cNvCxnSpPr/>
          <p:nvPr/>
        </p:nvCxnSpPr>
        <p:spPr>
          <a:xfrm>
            <a:off x="7961610" y="3190255"/>
            <a:ext cx="0" cy="431800"/>
          </a:xfrm>
          <a:prstGeom prst="straightConnector1">
            <a:avLst/>
          </a:prstGeom>
          <a:ln w="19050"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99557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>
                <a:latin typeface="Arial Narrow" panose="020B0606020202030204" pitchFamily="34" charset="0"/>
              </a:rPr>
              <a:t>ПРИМЕР 3: ИЗБЫТОЧНЫЕ ТРЕБОВАНИЯ К УЧАСТНИКАМ</a:t>
            </a:r>
            <a:endParaRPr lang="ru-RU" sz="24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6B1FF1-CCDF-4618-AA96-E8A119FBE8B6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9</a:t>
            </a:fld>
            <a:endParaRPr lang="ru-RU" dirty="0">
              <a:solidFill>
                <a:srgbClr val="003274"/>
              </a:solidFill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323528" y="1635183"/>
            <a:ext cx="2110935" cy="3528906"/>
            <a:chOff x="646794" y="2344432"/>
            <a:chExt cx="2660601" cy="1956536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646794" y="2718557"/>
              <a:ext cx="2660601" cy="15824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22041" indent="-422041">
                <a:lnSpc>
                  <a:spcPct val="90000"/>
                </a:lnSpc>
                <a:spcBef>
                  <a:spcPts val="369"/>
                </a:spcBef>
                <a:spcAft>
                  <a:spcPts val="369"/>
                </a:spcAft>
                <a:buFont typeface="+mj-lt"/>
                <a:buAutoNum type="arabicPeriod"/>
              </a:pPr>
              <a:r>
                <a:rPr lang="ru-RU" sz="1600" dirty="0" smtClean="0">
                  <a:solidFill>
                    <a:prstClr val="black"/>
                  </a:solidFill>
                  <a:latin typeface="Arial Narrow"/>
                </a:rPr>
                <a:t>Предмет закупки – услуги по анализу причин перенапряжения в сети на блоках 1-4 Кольской АЭС</a:t>
              </a:r>
            </a:p>
            <a:p>
              <a:pPr marL="422041" indent="-422041">
                <a:lnSpc>
                  <a:spcPct val="90000"/>
                </a:lnSpc>
                <a:spcBef>
                  <a:spcPts val="369"/>
                </a:spcBef>
                <a:spcAft>
                  <a:spcPts val="369"/>
                </a:spcAft>
                <a:buFont typeface="+mj-lt"/>
                <a:buAutoNum type="arabicPeriod"/>
              </a:pPr>
              <a:r>
                <a:rPr lang="ru-RU" sz="1600" dirty="0" smtClean="0">
                  <a:solidFill>
                    <a:prstClr val="black"/>
                  </a:solidFill>
                  <a:latin typeface="Arial Narrow"/>
                </a:rPr>
                <a:t>Требование о наличии у участника лицензии ФСБ России на работу с </a:t>
              </a:r>
              <a:r>
                <a:rPr lang="ru-RU" sz="1600" dirty="0" err="1" smtClean="0">
                  <a:solidFill>
                    <a:prstClr val="black"/>
                  </a:solidFill>
                  <a:latin typeface="Arial Narrow"/>
                </a:rPr>
                <a:t>гостайной</a:t>
              </a:r>
              <a:r>
                <a:rPr lang="ru-RU" sz="1600" dirty="0" smtClean="0">
                  <a:solidFill>
                    <a:prstClr val="black"/>
                  </a:solidFill>
                  <a:latin typeface="Arial Narrow"/>
                </a:rPr>
                <a:t> </a:t>
              </a:r>
              <a:endParaRPr lang="ru-RU" sz="1600" dirty="0">
                <a:solidFill>
                  <a:prstClr val="black"/>
                </a:solidFill>
                <a:latin typeface="Arial Narrow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704850" y="2344432"/>
              <a:ext cx="1080919" cy="160651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0"/>
                </a:spcBef>
              </a:pPr>
              <a:r>
                <a:rPr lang="ru-RU" sz="2092" b="1" dirty="0" smtClean="0">
                  <a:solidFill>
                    <a:prstClr val="black">
                      <a:lumMod val="90000"/>
                      <a:lumOff val="10000"/>
                    </a:prstClr>
                  </a:solidFill>
                  <a:latin typeface="Arial Narrow"/>
                  <a:cs typeface="Arial" pitchFamily="34" charset="0"/>
                </a:rPr>
                <a:t>Закупка</a:t>
              </a:r>
              <a:endParaRPr lang="ru-RU" sz="2092" b="1" dirty="0">
                <a:solidFill>
                  <a:prstClr val="black">
                    <a:lumMod val="90000"/>
                    <a:lumOff val="10000"/>
                  </a:prstClr>
                </a:solidFill>
                <a:latin typeface="Arial Narrow"/>
                <a:cs typeface="Arial" pitchFamily="34" charset="0"/>
              </a:endParaRP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2751107" y="1612940"/>
            <a:ext cx="6069365" cy="498598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ru-RU" sz="3600" b="1" dirty="0" smtClean="0">
                <a:solidFill>
                  <a:srgbClr val="B12726"/>
                </a:solidFill>
                <a:latin typeface="Arial Narrow"/>
                <a:cs typeface="Arial" pitchFamily="34" charset="0"/>
              </a:rPr>
              <a:t>НЕОБОСНОВАННАЯ ЖАЛОБА</a:t>
            </a:r>
            <a:endParaRPr lang="ru-RU" sz="3600" b="1" dirty="0">
              <a:solidFill>
                <a:srgbClr val="B12726"/>
              </a:solidFill>
              <a:latin typeface="Arial Narrow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555776" y="1537025"/>
            <a:ext cx="6264696" cy="4628279"/>
          </a:xfrm>
          <a:prstGeom prst="rect">
            <a:avLst/>
          </a:prstGeom>
          <a:noFill/>
          <a:ln w="19050" cap="flat" cmpd="sng" algn="ctr">
            <a:solidFill>
              <a:srgbClr val="B12726"/>
            </a:solidFill>
            <a:prstDash val="solid"/>
          </a:ln>
          <a:effectLst/>
        </p:spPr>
        <p:txBody>
          <a:bodyPr lIns="88615" tIns="0" rIns="88615" b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3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46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2743035" y="2343083"/>
            <a:ext cx="5541419" cy="580322"/>
            <a:chOff x="5071293" y="3063981"/>
            <a:chExt cx="4502403" cy="471511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5633428" y="3121837"/>
              <a:ext cx="3940268" cy="4136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1354" b="1" dirty="0" smtClean="0">
                  <a:solidFill>
                    <a:srgbClr val="2C4155"/>
                  </a:solidFill>
                  <a:latin typeface="Arial Narrow"/>
                </a:rPr>
                <a:t>ДОВОДЫ ЖАЛОБЫ</a:t>
              </a:r>
              <a:r>
                <a:rPr lang="ru-RU" sz="1354" dirty="0" smtClean="0">
                  <a:solidFill>
                    <a:srgbClr val="2C4155"/>
                  </a:solidFill>
                  <a:latin typeface="Arial Narrow"/>
                </a:rPr>
                <a:t>: ТРЕБОВАНИЕ О ЛИЦЕНЗИИ ФСБ ИЗБЫТОЧНО, Т.К. НЕТ ГОСТАЙНЫ НА ЭТАПЕ ЗАКУПКИ</a:t>
              </a:r>
              <a:endParaRPr lang="ru-RU" sz="1354" dirty="0">
                <a:solidFill>
                  <a:srgbClr val="2C4155"/>
                </a:solidFill>
                <a:latin typeface="Arial Narrow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b="1" dirty="0">
                  <a:solidFill>
                    <a:srgbClr val="2C4155"/>
                  </a:solidFill>
                  <a:latin typeface="Arial Narrow"/>
                </a:rPr>
                <a:t>01.</a:t>
              </a: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2743035" y="2975865"/>
            <a:ext cx="6056843" cy="997101"/>
            <a:chOff x="5071293" y="3063981"/>
            <a:chExt cx="4767196" cy="810144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5633428" y="3121837"/>
              <a:ext cx="4205061" cy="7522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354" b="1" kern="0" dirty="0" smtClean="0">
                  <a:solidFill>
                    <a:srgbClr val="2C4155"/>
                  </a:solidFill>
                  <a:latin typeface="Arial Narrow" pitchFamily="34" charset="0"/>
                </a:rPr>
                <a:t>ПОЗИЦИЯ ОТВЕТЧИКА</a:t>
              </a:r>
              <a:r>
                <a:rPr lang="ru-RU" sz="1354" kern="0" dirty="0" smtClean="0">
                  <a:solidFill>
                    <a:srgbClr val="2C4155"/>
                  </a:solidFill>
                  <a:latin typeface="Arial Narrow" pitchFamily="34" charset="0"/>
                </a:rPr>
                <a:t>: В ХОДЕ ОКАЗАНИЯ УСЛУГ ИСПОЛНИТЕЛЬ БУДЕТ НЕИЗБЕЖНО ОЗНАКОМЛЕН СО СВЕДЕНИЯМИ, СОСТАВЛЯЮЩИМИ ГОСТАЙНУ (УСЛОВНЫЕ НОМЕРА И ПАРОЛИ СИСТЕМЫ ФИЗИЧЕСКОЙ ЗАЩИТЫ АЭС) </a:t>
              </a:r>
              <a:endParaRPr kumimoji="0" lang="ru-RU" sz="1354" b="0" i="0" u="none" strike="noStrike" kern="0" cap="none" spc="0" normalizeH="0" baseline="0" noProof="0" dirty="0" smtClean="0">
                <a:ln>
                  <a:noFill/>
                </a:ln>
                <a:solidFill>
                  <a:srgbClr val="2C4155"/>
                </a:solidFill>
                <a:effectLst/>
                <a:uLnTx/>
                <a:uFillTx/>
                <a:latin typeface="Arial Narrow" pitchFamily="34" charset="0"/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62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/>
                </a:rPr>
                <a:t>02.</a:t>
              </a: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2763629" y="4110152"/>
            <a:ext cx="5867318" cy="788711"/>
            <a:chOff x="5071293" y="3063981"/>
            <a:chExt cx="4767196" cy="640827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5633428" y="3121837"/>
              <a:ext cx="4205061" cy="5829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354" b="1" kern="0" noProof="0" dirty="0" smtClean="0">
                  <a:solidFill>
                    <a:srgbClr val="2C4155"/>
                  </a:solidFill>
                  <a:latin typeface="Arial Narrow" pitchFamily="34" charset="0"/>
                </a:rPr>
                <a:t>МОТИВИРОВКА РЕШЕНИЯ</a:t>
              </a:r>
              <a:r>
                <a:rPr lang="ru-RU" sz="1354" kern="0" noProof="0" dirty="0" smtClean="0">
                  <a:solidFill>
                    <a:srgbClr val="2C4155"/>
                  </a:solidFill>
                  <a:latin typeface="Arial Narrow" pitchFamily="34" charset="0"/>
                </a:rPr>
                <a:t>: АЭС ЯВЛЯЮТСЯ ОБЪЕТАМИ ГОСОХРАНЫ, ПОМЕЩЕНИЯ, ГДЕ ПРОВОДЯТСЯ РАБОТЫ ЯВЛЯЮТСЯ КАТЕГОРИЙНЫМИ </a:t>
              </a:r>
              <a:endParaRPr kumimoji="0" lang="ru-RU" sz="1354" b="0" i="0" u="none" strike="noStrike" kern="0" cap="none" spc="0" normalizeH="0" baseline="0" noProof="0" dirty="0" smtClean="0">
                <a:ln>
                  <a:noFill/>
                </a:ln>
                <a:solidFill>
                  <a:srgbClr val="2C4155"/>
                </a:solidFill>
                <a:effectLst/>
                <a:uLnTx/>
                <a:uFillTx/>
                <a:latin typeface="Arial Narrow" pitchFamily="34" charset="0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62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/>
                </a:rPr>
                <a:t>03.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2755856" y="4896014"/>
            <a:ext cx="5867318" cy="997101"/>
            <a:chOff x="5071293" y="3063981"/>
            <a:chExt cx="4767196" cy="810144"/>
          </a:xfrm>
        </p:grpSpPr>
        <p:sp>
          <p:nvSpPr>
            <p:cNvPr id="23" name="Прямоугольник 22"/>
            <p:cNvSpPr/>
            <p:nvPr/>
          </p:nvSpPr>
          <p:spPr>
            <a:xfrm>
              <a:off x="5633428" y="3121837"/>
              <a:ext cx="4205061" cy="7522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354" b="1" kern="0" dirty="0" smtClean="0">
                  <a:solidFill>
                    <a:srgbClr val="2C4155"/>
                  </a:solidFill>
                  <a:latin typeface="Arial Narrow" pitchFamily="34" charset="0"/>
                </a:rPr>
                <a:t>ФАКТИЧЕСКИЕ ОБСТОЯТЕЛЬСТВА</a:t>
              </a:r>
              <a:r>
                <a:rPr lang="ru-RU" sz="1354" kern="0" dirty="0" smtClean="0">
                  <a:solidFill>
                    <a:srgbClr val="2C4155"/>
                  </a:solidFill>
                  <a:latin typeface="Arial Narrow" pitchFamily="34" charset="0"/>
                </a:rPr>
                <a:t>: В ДОКУМЕНТАЦИИ НЕ ПРОПИСАНЫ КОНКРЕТНЫЕ УСЛУГИ И НЕОБХОДИОМЫЕ ДЛЯ НИХ ИСХОДНЫЕ ДОКУМЕНТЫ, В КОТОРЫХ БУДЕТ СОДЕРЖАТЬСЯ ГОСТАЙНА</a:t>
              </a:r>
              <a:endParaRPr kumimoji="0" lang="ru-RU" sz="1354" b="0" i="0" u="none" strike="noStrike" kern="0" cap="none" spc="0" normalizeH="0" baseline="0" noProof="0" dirty="0" smtClean="0">
                <a:ln>
                  <a:noFill/>
                </a:ln>
                <a:solidFill>
                  <a:srgbClr val="2C4155"/>
                </a:solidFill>
                <a:effectLst/>
                <a:uLnTx/>
                <a:uFillTx/>
                <a:latin typeface="Arial Narrow" pitchFamily="34" charset="0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738"/>
                </a:spcBef>
                <a:spcAft>
                  <a:spcPts val="73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62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C4155"/>
                  </a:solidFill>
                  <a:effectLst/>
                  <a:uLnTx/>
                  <a:uFillTx/>
                  <a:latin typeface="Arial Narrow"/>
                </a:rPr>
                <a:t>04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755724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PHyuoAsE.WfpKbpzCq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gyreV53UuQxyFaNbCm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jNDmchyEKjzFiLJZg7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kcCHCYhkWTIiFVMB4t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j1aONpTEqE1dUmS2al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tjZZmatkShmFK7.iNAD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VZS4yJ60qPLbGnti2Kb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HkQZI6lE6dpOStDmb5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BO91klUE6efw9mBOD7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YihxDE5kuGURPGQNXaB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vD57k2kkioNfvuRO01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nnPd2UkkyemQ7VEdmV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9R5_eF.UupMJ3jX9q8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tJw2qYZkKcgu3gH5n07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7rphS760.dwShkznpI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FLCClHJUiePClkAmyA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IfFQ86REWA20n7iS1e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Lq1BfX6UKd4PWOjJIW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V94YnhPUyIX6w3ihMl_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P7L7ra9EC.bEf6UELX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IlOwkk8U6NkylWX2to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qARlA5FUCfgMmLjRr1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m3GnYTPUGGPI5GUHRp.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69wUdlOES9W1j.iSTDUQ"/>
</p:tagLst>
</file>

<file path=ppt/theme/theme1.xml><?xml version="1.0" encoding="utf-8"?>
<a:theme xmlns:a="http://schemas.openxmlformats.org/drawingml/2006/main" name="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a-content">
  <a:themeElements>
    <a:clrScheme name="a-conten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2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13_b-default">
  <a:themeElements>
    <a:clrScheme name="Волна">
      <a:dk1>
        <a:sysClr val="windowText" lastClr="000000"/>
      </a:dk1>
      <a:lt1>
        <a:sysClr val="window" lastClr="FFFFFF"/>
      </a:lt1>
      <a:dk2>
        <a:srgbClr val="073E87"/>
      </a:dk2>
      <a:lt2>
        <a:srgbClr val="C6E7FC"/>
      </a:lt2>
      <a:accent1>
        <a:srgbClr val="31B6FD"/>
      </a:accent1>
      <a:accent2>
        <a:srgbClr val="4584D3"/>
      </a:accent2>
      <a:accent3>
        <a:srgbClr val="5BD078"/>
      </a:accent3>
      <a:accent4>
        <a:srgbClr val="A5D028"/>
      </a:accent4>
      <a:accent5>
        <a:srgbClr val="F5C040"/>
      </a:accent5>
      <a:accent6>
        <a:srgbClr val="05E0DB"/>
      </a:accent6>
      <a:hlink>
        <a:srgbClr val="0080FF"/>
      </a:hlink>
      <a:folHlink>
        <a:srgbClr val="5EAEFF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1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2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1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8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4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1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a-section62">
  <a:themeElements>
    <a:clrScheme name="a-section62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6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6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2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17_b-default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1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1_A4rb_Premium">
  <a:themeElements>
    <a:clrScheme name="ГлавКонтроль">
      <a:dk1>
        <a:sysClr val="windowText" lastClr="000000"/>
      </a:dk1>
      <a:lt1>
        <a:sysClr val="window" lastClr="FFFFFF"/>
      </a:lt1>
      <a:dk2>
        <a:srgbClr val="2C4155"/>
      </a:dk2>
      <a:lt2>
        <a:srgbClr val="B39170"/>
      </a:lt2>
      <a:accent1>
        <a:srgbClr val="B12726"/>
      </a:accent1>
      <a:accent2>
        <a:srgbClr val="D48887"/>
      </a:accent2>
      <a:accent3>
        <a:srgbClr val="D0E1EA"/>
      </a:accent3>
      <a:accent4>
        <a:srgbClr val="6EA9C0"/>
      </a:accent4>
      <a:accent5>
        <a:srgbClr val="2E8FAB"/>
      </a:accent5>
      <a:accent6>
        <a:srgbClr val="2B657E"/>
      </a:accent6>
      <a:hlink>
        <a:srgbClr val="0070C0"/>
      </a:hlink>
      <a:folHlink>
        <a:srgbClr val="581312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 cmpd="sng">
          <a:solidFill>
            <a:schemeClr val="accent3"/>
          </a:solidFill>
        </a:ln>
        <a:effectLst/>
      </a:spPr>
      <a:bodyPr lIns="72000" tIns="0" rIns="72000" bIns="0" rtlCol="0" anchor="ctr"/>
      <a:lstStyle>
        <a:defPPr>
          <a:lnSpc>
            <a:spcPct val="90000"/>
          </a:lnSpc>
          <a:spcBef>
            <a:spcPts val="300"/>
          </a:spcBef>
          <a:defRPr sz="1500" b="0" dirty="0" smtClean="0">
            <a:solidFill>
              <a:schemeClr val="tx1"/>
            </a:solidFill>
            <a:latin typeface="+mn-lt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0"/>
          </a:spcBef>
          <a:defRPr sz="1500" b="0" dirty="0" smtClean="0">
            <a:latin typeface="+mn-lt"/>
            <a:cs typeface="Arial" pitchFamily="34" charset="0"/>
          </a:defRPr>
        </a:defPPr>
      </a:lstStyle>
    </a:txDef>
  </a:objectDefaults>
  <a:extraClrSchemeLst/>
</a:theme>
</file>

<file path=ppt/theme/theme3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a-section61">
  <a:themeElements>
    <a:clrScheme name="a-section61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6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6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1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a-section63">
  <a:themeElements>
    <a:clrScheme name="a-section63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6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6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3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3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3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3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3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a-section64">
  <a:themeElements>
    <a:clrScheme name="a-section64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6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6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4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4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4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4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4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a-section65">
  <a:themeElements>
    <a:clrScheme name="a-section65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6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6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5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5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5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5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5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a-section66">
  <a:themeElements>
    <a:clrScheme name="a-section66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6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66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6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6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6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6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6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ГлавКонтроль">
    <a:dk1>
      <a:sysClr val="windowText" lastClr="000000"/>
    </a:dk1>
    <a:lt1>
      <a:sysClr val="window" lastClr="FFFFFF"/>
    </a:lt1>
    <a:dk2>
      <a:srgbClr val="2C4155"/>
    </a:dk2>
    <a:lt2>
      <a:srgbClr val="B39170"/>
    </a:lt2>
    <a:accent1>
      <a:srgbClr val="B12726"/>
    </a:accent1>
    <a:accent2>
      <a:srgbClr val="D48887"/>
    </a:accent2>
    <a:accent3>
      <a:srgbClr val="D0E1EA"/>
    </a:accent3>
    <a:accent4>
      <a:srgbClr val="6EA9C0"/>
    </a:accent4>
    <a:accent5>
      <a:srgbClr val="2E8FAB"/>
    </a:accent5>
    <a:accent6>
      <a:srgbClr val="2B657E"/>
    </a:accent6>
    <a:hlink>
      <a:srgbClr val="0070C0"/>
    </a:hlink>
    <a:folHlink>
      <a:srgbClr val="581312"/>
    </a:folHlink>
  </a:clrScheme>
  <a:fontScheme name="Другая 1">
    <a:majorFont>
      <a:latin typeface="Arial Narrow"/>
      <a:ea typeface=""/>
      <a:cs typeface=""/>
    </a:majorFont>
    <a:minorFont>
      <a:latin typeface="Arial Narrow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53</TotalTime>
  <Words>1344</Words>
  <Application>Microsoft Office PowerPoint</Application>
  <PresentationFormat>Экран (4:3)</PresentationFormat>
  <Paragraphs>259</Paragraphs>
  <Slides>17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3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50" baseType="lpstr">
      <vt:lpstr>a-default</vt:lpstr>
      <vt:lpstr>a-content</vt:lpstr>
      <vt:lpstr>a-section62</vt:lpstr>
      <vt:lpstr>a-section61</vt:lpstr>
      <vt:lpstr>a-section63</vt:lpstr>
      <vt:lpstr>a-section64</vt:lpstr>
      <vt:lpstr>a-section65</vt:lpstr>
      <vt:lpstr>a-section66</vt:lpstr>
      <vt:lpstr>b-default</vt:lpstr>
      <vt:lpstr>1_b-default</vt:lpstr>
      <vt:lpstr>2_b-default</vt:lpstr>
      <vt:lpstr>3_b-default</vt:lpstr>
      <vt:lpstr>4_b-default</vt:lpstr>
      <vt:lpstr>5_b-default</vt:lpstr>
      <vt:lpstr>6_b-default</vt:lpstr>
      <vt:lpstr>7_b-default</vt:lpstr>
      <vt:lpstr>8_b-default</vt:lpstr>
      <vt:lpstr>9_b-default</vt:lpstr>
      <vt:lpstr>10_b-default</vt:lpstr>
      <vt:lpstr>11_b-default</vt:lpstr>
      <vt:lpstr>12_b-default</vt:lpstr>
      <vt:lpstr>21_b-default</vt:lpstr>
      <vt:lpstr>13_b-default</vt:lpstr>
      <vt:lpstr>14_b-default</vt:lpstr>
      <vt:lpstr>29_b-default</vt:lpstr>
      <vt:lpstr>15_b-default</vt:lpstr>
      <vt:lpstr>8_Оформление по умолчанию</vt:lpstr>
      <vt:lpstr>44_b-default</vt:lpstr>
      <vt:lpstr>16_b-default</vt:lpstr>
      <vt:lpstr>17_b-default</vt:lpstr>
      <vt:lpstr>18_b-default</vt:lpstr>
      <vt:lpstr>1_A4rb_Premium</vt:lpstr>
      <vt:lpstr>think-cell Slide</vt:lpstr>
      <vt:lpstr>ОТЧЁТ</vt:lpstr>
      <vt:lpstr>ЗАКУПКИ В АТОМНОЙ ОТРАСЛИ В 2015 ГОДУ</vt:lpstr>
      <vt:lpstr>Презентация PowerPoint</vt:lpstr>
      <vt:lpstr>СИСТЕМА КОНТРОЛЯ ЗАКУПОК В АТОМНОЙ ОТРАСЛИ</vt:lpstr>
      <vt:lpstr>Показатели обжалований закупок в атомной отрасли</vt:lpstr>
      <vt:lpstr>ВЫЯВЛЕНИЕ НАРУШЕНИЙ  ПО ЖАЛОБАМ</vt:lpstr>
      <vt:lpstr>ПРИМЕР 1: ПРЕДОТВРАЩЕНИЕ НЕЭФФЕКТИВНОГО РАСХОДОВАНИЯ СРЕДСТВ</vt:lpstr>
      <vt:lpstr>ПРИМЕР 2: НЕПРАВОМЕРНОЕ ОТКЛОНЕНИЕ УЧАСТНИКА</vt:lpstr>
      <vt:lpstr>ПРИМЕР 3: ИЗБЫТОЧНЫЕ ТРЕБОВАНИЯ К УЧАСТНИКАМ</vt:lpstr>
      <vt:lpstr> ДОПОЛНИТЕЛЬНЫЕ ФУНКЦИИ ВНУТРЕННЕГО КОНТРОЛЯ</vt:lpstr>
      <vt:lpstr>МЕРЫ ДИСЦИПЛИНАРНОЙ ОТВЕТСТВЕННОСТИ ЗА НАРУШЕНИЯ В ЗАКУПОЧНОЙ ДЕЯТЕЛЬНОСТИ</vt:lpstr>
      <vt:lpstr>ДИСЦИПЛИНАРНАЯ ОТВЕТСТВЕННОСТЬ  ЗА НАРУШЕНИЯ В ЗАКУПКАХ</vt:lpstr>
      <vt:lpstr>ПОЧЕМУ В 223-ФЗ НУЖЕН  ВНУТРЕННИЙ КОНТРОЛЬ ЗАКУПОК</vt:lpstr>
      <vt:lpstr>Презентация PowerPoint</vt:lpstr>
      <vt:lpstr>АКТИВНОСТЬ ЗАЯВИТЕЛЕЙ ЖАЛОБ В АК</vt:lpstr>
      <vt:lpstr>КОНКУРС НА ЗВАНИЕ  «ЛУЧШИЙ ОБЩЕСТВЕННЫЙ КОНТРОЛЕР В ЗАКУПКАХ»</vt:lpstr>
      <vt:lpstr>Презентация PowerPoint</vt:lpstr>
    </vt:vector>
  </TitlesOfParts>
  <Company>Rosat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. (если название очень большое, то его можно писать в три строки)</dc:title>
  <dc:creator>Rakhmaninov</dc:creator>
  <cp:lastModifiedBy>Пахтусова Людмила Юрьевна</cp:lastModifiedBy>
  <cp:revision>337</cp:revision>
  <cp:lastPrinted>2016-04-26T10:50:26Z</cp:lastPrinted>
  <dcterms:created xsi:type="dcterms:W3CDTF">2009-06-02T06:21:27Z</dcterms:created>
  <dcterms:modified xsi:type="dcterms:W3CDTF">2016-04-26T10:50:34Z</dcterms:modified>
</cp:coreProperties>
</file>